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60" r:id="rId5"/>
    <p:sldMasterId id="2147483672" r:id="rId6"/>
    <p:sldMasterId id="2147483721" r:id="rId7"/>
    <p:sldMasterId id="2147483756" r:id="rId8"/>
    <p:sldMasterId id="2147483782" r:id="rId9"/>
  </p:sldMasterIdLst>
  <p:notesMasterIdLst>
    <p:notesMasterId r:id="rId18"/>
  </p:notesMasterIdLst>
  <p:sldIdLst>
    <p:sldId id="274" r:id="rId10"/>
    <p:sldId id="2147479463" r:id="rId11"/>
    <p:sldId id="302" r:id="rId12"/>
    <p:sldId id="2147479454" r:id="rId13"/>
    <p:sldId id="2147479459" r:id="rId14"/>
    <p:sldId id="2147479456" r:id="rId15"/>
    <p:sldId id="2147479460" r:id="rId16"/>
    <p:sldId id="2147479462" r:id="rId17"/>
  </p:sldIdLst>
  <p:sldSz cx="12192000" cy="6858000"/>
  <p:notesSz cx="6858000" cy="9144000"/>
  <p:embeddedFontLst>
    <p:embeddedFont>
      <p:font typeface="Arial Narrow" panose="020B0606020202030204" pitchFamily="34" charset="0"/>
      <p:regular r:id="rId19"/>
      <p:bold r:id="rId20"/>
      <p:italic r:id="rId21"/>
      <p:boldItalic r:id="rId22"/>
    </p:embeddedFont>
    <p:embeddedFont>
      <p:font typeface="JetBrains Mono ExtraBold" panose="020B0604020202020204" charset="0"/>
      <p:bold r:id="rId23"/>
      <p:italic r:id="rId24"/>
      <p:boldItalic r:id="rId25"/>
    </p:embeddedFont>
    <p:embeddedFont>
      <p:font typeface="Knockout HTF71-FullMiddlewt" charset="0"/>
      <p:regular r:id="rId26"/>
    </p:embeddedFont>
    <p:embeddedFont>
      <p:font typeface="Open Sans" panose="020B0606030504020204" pitchFamily="34" charset="0"/>
      <p:regular r:id="rId27"/>
      <p:bold r:id="rId28"/>
      <p:italic r:id="rId29"/>
      <p:boldItalic r:id="rId30"/>
    </p:embeddedFont>
    <p:embeddedFont>
      <p:font typeface="Open Sans Light" panose="020B0306030504020204" pitchFamily="34" charset="0"/>
      <p:regular r:id="rId31"/>
      <p:italic r:id="rId32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AFD00"/>
    <a:srgbClr val="A1ABB3"/>
    <a:srgbClr val="CC264C"/>
    <a:srgbClr val="C73741"/>
    <a:srgbClr val="622043"/>
    <a:srgbClr val="A42339"/>
    <a:srgbClr val="D7427A"/>
    <a:srgbClr val="731F3E"/>
    <a:srgbClr val="5E2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24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font" Target="fonts/font7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636957-071A-4DB4-846B-B39A6F5A5350}" type="doc">
      <dgm:prSet loTypeId="urn:microsoft.com/office/officeart/2005/8/layout/process1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B3897B9-D03B-41C7-AFCE-A64A2FED06D2}">
      <dgm:prSet phldrT="[Text]" custT="1"/>
      <dgm:spPr/>
      <dgm:t>
        <a:bodyPr/>
        <a:lstStyle/>
        <a:p>
          <a:r>
            <a:rPr lang="de-DE" sz="2000" dirty="0"/>
            <a:t>Benutzereingabe</a:t>
          </a:r>
        </a:p>
      </dgm:t>
    </dgm:pt>
    <dgm:pt modelId="{CCAF940B-0B8E-4B52-9797-7397D765886A}" type="parTrans" cxnId="{6AE1E020-CC5F-4A35-A4A0-6D366EFE8C62}">
      <dgm:prSet/>
      <dgm:spPr/>
      <dgm:t>
        <a:bodyPr/>
        <a:lstStyle/>
        <a:p>
          <a:endParaRPr lang="de-DE"/>
        </a:p>
      </dgm:t>
    </dgm:pt>
    <dgm:pt modelId="{09D5EE94-1722-4B73-A4FE-A23E294230A6}" type="sibTrans" cxnId="{6AE1E020-CC5F-4A35-A4A0-6D366EFE8C62}">
      <dgm:prSet/>
      <dgm:spPr/>
      <dgm:t>
        <a:bodyPr/>
        <a:lstStyle/>
        <a:p>
          <a:endParaRPr lang="de-DE"/>
        </a:p>
      </dgm:t>
    </dgm:pt>
    <dgm:pt modelId="{02205E78-6745-4860-9137-F8122D8EF90E}">
      <dgm:prSet phldrT="[Text]" custT="1"/>
      <dgm:spPr/>
      <dgm:t>
        <a:bodyPr/>
        <a:lstStyle/>
        <a:p>
          <a:r>
            <a:rPr lang="de-DE" sz="2000" dirty="0"/>
            <a:t>Sortieren</a:t>
          </a:r>
        </a:p>
      </dgm:t>
    </dgm:pt>
    <dgm:pt modelId="{063F6AD9-3551-47B9-9D29-F05673ACDBE8}" type="parTrans" cxnId="{0F766ADD-2121-4A9E-8FDB-281126EBFF0C}">
      <dgm:prSet/>
      <dgm:spPr/>
      <dgm:t>
        <a:bodyPr/>
        <a:lstStyle/>
        <a:p>
          <a:endParaRPr lang="de-DE"/>
        </a:p>
      </dgm:t>
    </dgm:pt>
    <dgm:pt modelId="{5B9D9920-3271-43EA-8829-AA18FE4E39C2}" type="sibTrans" cxnId="{0F766ADD-2121-4A9E-8FDB-281126EBFF0C}">
      <dgm:prSet/>
      <dgm:spPr/>
      <dgm:t>
        <a:bodyPr/>
        <a:lstStyle/>
        <a:p>
          <a:endParaRPr lang="de-DE"/>
        </a:p>
      </dgm:t>
    </dgm:pt>
    <dgm:pt modelId="{8DD8859F-8514-4CD3-BB66-FFA1F2966689}">
      <dgm:prSet phldrT="[Text]" custT="1"/>
      <dgm:spPr/>
      <dgm:t>
        <a:bodyPr/>
        <a:lstStyle/>
        <a:p>
          <a:r>
            <a:rPr lang="de-DE" sz="2000" dirty="0"/>
            <a:t>Anzeigen</a:t>
          </a:r>
        </a:p>
      </dgm:t>
    </dgm:pt>
    <dgm:pt modelId="{EEDE61F6-D0D0-40D3-B66B-0F21EEEA0CC6}" type="parTrans" cxnId="{C5206BC9-B09F-4B08-9AAA-208C0B635A83}">
      <dgm:prSet/>
      <dgm:spPr/>
      <dgm:t>
        <a:bodyPr/>
        <a:lstStyle/>
        <a:p>
          <a:endParaRPr lang="de-DE"/>
        </a:p>
      </dgm:t>
    </dgm:pt>
    <dgm:pt modelId="{6E34C852-D150-4BB4-8BBE-52666F7F6795}" type="sibTrans" cxnId="{C5206BC9-B09F-4B08-9AAA-208C0B635A83}">
      <dgm:prSet/>
      <dgm:spPr/>
      <dgm:t>
        <a:bodyPr/>
        <a:lstStyle/>
        <a:p>
          <a:endParaRPr lang="de-DE"/>
        </a:p>
      </dgm:t>
    </dgm:pt>
    <dgm:pt modelId="{D96F73B1-82A1-4C6C-B9EE-A75ADDA77F49}">
      <dgm:prSet custT="1"/>
      <dgm:spPr/>
      <dgm:t>
        <a:bodyPr/>
        <a:lstStyle/>
        <a:p>
          <a:r>
            <a:rPr lang="de-DE" sz="2000" dirty="0" err="1"/>
            <a:t>Kommisionierungsauftrag</a:t>
          </a:r>
          <a:endParaRPr lang="de-DE" sz="2000" dirty="0"/>
        </a:p>
      </dgm:t>
    </dgm:pt>
    <dgm:pt modelId="{648DB72D-3D9F-4189-BF59-CBD457A7C403}" type="parTrans" cxnId="{CCBBBE4B-3CF2-4D8E-BBED-EF8347BF6DD1}">
      <dgm:prSet/>
      <dgm:spPr/>
      <dgm:t>
        <a:bodyPr/>
        <a:lstStyle/>
        <a:p>
          <a:endParaRPr lang="de-DE"/>
        </a:p>
      </dgm:t>
    </dgm:pt>
    <dgm:pt modelId="{BE388921-472D-466F-988B-B4E68580E563}" type="sibTrans" cxnId="{CCBBBE4B-3CF2-4D8E-BBED-EF8347BF6DD1}">
      <dgm:prSet/>
      <dgm:spPr/>
      <dgm:t>
        <a:bodyPr/>
        <a:lstStyle/>
        <a:p>
          <a:endParaRPr lang="de-DE"/>
        </a:p>
      </dgm:t>
    </dgm:pt>
    <dgm:pt modelId="{45F3FC95-F6C3-4449-8E83-C61457824326}" type="pres">
      <dgm:prSet presAssocID="{52636957-071A-4DB4-846B-B39A6F5A5350}" presName="Name0" presStyleCnt="0">
        <dgm:presLayoutVars>
          <dgm:dir/>
          <dgm:resizeHandles val="exact"/>
        </dgm:presLayoutVars>
      </dgm:prSet>
      <dgm:spPr/>
    </dgm:pt>
    <dgm:pt modelId="{C3CB7730-977A-45AD-8292-2176448E7445}" type="pres">
      <dgm:prSet presAssocID="{5B3897B9-D03B-41C7-AFCE-A64A2FED06D2}" presName="node" presStyleLbl="node1" presStyleIdx="0" presStyleCnt="4" custScaleX="99574" custScaleY="57355">
        <dgm:presLayoutVars>
          <dgm:bulletEnabled val="1"/>
        </dgm:presLayoutVars>
      </dgm:prSet>
      <dgm:spPr/>
    </dgm:pt>
    <dgm:pt modelId="{3FF53E4F-52C3-4074-8447-41C8DF8BA982}" type="pres">
      <dgm:prSet presAssocID="{09D5EE94-1722-4B73-A4FE-A23E294230A6}" presName="sibTrans" presStyleLbl="sibTrans2D1" presStyleIdx="0" presStyleCnt="3" custScaleX="136173"/>
      <dgm:spPr/>
    </dgm:pt>
    <dgm:pt modelId="{9F9D11B0-6F3A-4A59-BC98-D419C4C597D7}" type="pres">
      <dgm:prSet presAssocID="{09D5EE94-1722-4B73-A4FE-A23E294230A6}" presName="connectorText" presStyleLbl="sibTrans2D1" presStyleIdx="0" presStyleCnt="3"/>
      <dgm:spPr/>
    </dgm:pt>
    <dgm:pt modelId="{A7251EFB-CE89-4797-B446-AF1E47C4FDE8}" type="pres">
      <dgm:prSet presAssocID="{02205E78-6745-4860-9137-F8122D8EF90E}" presName="node" presStyleLbl="node1" presStyleIdx="1" presStyleCnt="4" custScaleX="63765" custScaleY="57355">
        <dgm:presLayoutVars>
          <dgm:bulletEnabled val="1"/>
        </dgm:presLayoutVars>
      </dgm:prSet>
      <dgm:spPr/>
    </dgm:pt>
    <dgm:pt modelId="{26FC9385-CB74-4A5F-AFB2-8E128FC75CF3}" type="pres">
      <dgm:prSet presAssocID="{5B9D9920-3271-43EA-8829-AA18FE4E39C2}" presName="sibTrans" presStyleLbl="sibTrans2D1" presStyleIdx="1" presStyleCnt="3" custScaleX="149805"/>
      <dgm:spPr/>
    </dgm:pt>
    <dgm:pt modelId="{1B7C48AD-F086-4382-9346-864CD6C60A42}" type="pres">
      <dgm:prSet presAssocID="{5B9D9920-3271-43EA-8829-AA18FE4E39C2}" presName="connectorText" presStyleLbl="sibTrans2D1" presStyleIdx="1" presStyleCnt="3"/>
      <dgm:spPr/>
    </dgm:pt>
    <dgm:pt modelId="{C79B5BC4-69D3-4DCB-BFFF-5F230EC33951}" type="pres">
      <dgm:prSet presAssocID="{8DD8859F-8514-4CD3-BB66-FFA1F2966689}" presName="node" presStyleLbl="node1" presStyleIdx="2" presStyleCnt="4" custScaleX="75441" custScaleY="57355">
        <dgm:presLayoutVars>
          <dgm:bulletEnabled val="1"/>
        </dgm:presLayoutVars>
      </dgm:prSet>
      <dgm:spPr/>
    </dgm:pt>
    <dgm:pt modelId="{52B2D639-5511-480E-B7FC-C8B12FAC7C32}" type="pres">
      <dgm:prSet presAssocID="{6E34C852-D150-4BB4-8BBE-52666F7F6795}" presName="sibTrans" presStyleLbl="sibTrans2D1" presStyleIdx="2" presStyleCnt="3" custScaleX="155949"/>
      <dgm:spPr/>
    </dgm:pt>
    <dgm:pt modelId="{C2457353-813E-425C-B272-D3A6EE8B2096}" type="pres">
      <dgm:prSet presAssocID="{6E34C852-D150-4BB4-8BBE-52666F7F6795}" presName="connectorText" presStyleLbl="sibTrans2D1" presStyleIdx="2" presStyleCnt="3"/>
      <dgm:spPr/>
    </dgm:pt>
    <dgm:pt modelId="{BCF0A716-D580-4459-A951-11001236A12F}" type="pres">
      <dgm:prSet presAssocID="{D96F73B1-82A1-4C6C-B9EE-A75ADDA77F49}" presName="node" presStyleLbl="node1" presStyleIdx="3" presStyleCnt="4" custScaleX="154246" custScaleY="58177" custLinFactNeighborX="3253" custLinFactNeighborY="-1329">
        <dgm:presLayoutVars>
          <dgm:bulletEnabled val="1"/>
        </dgm:presLayoutVars>
      </dgm:prSet>
      <dgm:spPr/>
    </dgm:pt>
  </dgm:ptLst>
  <dgm:cxnLst>
    <dgm:cxn modelId="{8D47990D-C36C-4789-B283-4930B24C6B0E}" type="presOf" srcId="{5B9D9920-3271-43EA-8829-AA18FE4E39C2}" destId="{26FC9385-CB74-4A5F-AFB2-8E128FC75CF3}" srcOrd="0" destOrd="0" presId="urn:microsoft.com/office/officeart/2005/8/layout/process1"/>
    <dgm:cxn modelId="{6AE1E020-CC5F-4A35-A4A0-6D366EFE8C62}" srcId="{52636957-071A-4DB4-846B-B39A6F5A5350}" destId="{5B3897B9-D03B-41C7-AFCE-A64A2FED06D2}" srcOrd="0" destOrd="0" parTransId="{CCAF940B-0B8E-4B52-9797-7397D765886A}" sibTransId="{09D5EE94-1722-4B73-A4FE-A23E294230A6}"/>
    <dgm:cxn modelId="{4B1AA440-DE5A-43F9-9920-E7B639ACE5B2}" type="presOf" srcId="{6E34C852-D150-4BB4-8BBE-52666F7F6795}" destId="{52B2D639-5511-480E-B7FC-C8B12FAC7C32}" srcOrd="0" destOrd="0" presId="urn:microsoft.com/office/officeart/2005/8/layout/process1"/>
    <dgm:cxn modelId="{50B6D365-66AD-43EB-BAB8-557C329D23EA}" type="presOf" srcId="{6E34C852-D150-4BB4-8BBE-52666F7F6795}" destId="{C2457353-813E-425C-B272-D3A6EE8B2096}" srcOrd="1" destOrd="0" presId="urn:microsoft.com/office/officeart/2005/8/layout/process1"/>
    <dgm:cxn modelId="{F905D767-3CD7-4B74-BC14-25D7246D565C}" type="presOf" srcId="{8DD8859F-8514-4CD3-BB66-FFA1F2966689}" destId="{C79B5BC4-69D3-4DCB-BFFF-5F230EC33951}" srcOrd="0" destOrd="0" presId="urn:microsoft.com/office/officeart/2005/8/layout/process1"/>
    <dgm:cxn modelId="{67BB9E49-EEC1-4DE4-AD36-8D4D62E7988C}" type="presOf" srcId="{02205E78-6745-4860-9137-F8122D8EF90E}" destId="{A7251EFB-CE89-4797-B446-AF1E47C4FDE8}" srcOrd="0" destOrd="0" presId="urn:microsoft.com/office/officeart/2005/8/layout/process1"/>
    <dgm:cxn modelId="{4ECE566B-939A-4C67-B045-2628C2B38405}" type="presOf" srcId="{52636957-071A-4DB4-846B-B39A6F5A5350}" destId="{45F3FC95-F6C3-4449-8E83-C61457824326}" srcOrd="0" destOrd="0" presId="urn:microsoft.com/office/officeart/2005/8/layout/process1"/>
    <dgm:cxn modelId="{CCBBBE4B-3CF2-4D8E-BBED-EF8347BF6DD1}" srcId="{52636957-071A-4DB4-846B-B39A6F5A5350}" destId="{D96F73B1-82A1-4C6C-B9EE-A75ADDA77F49}" srcOrd="3" destOrd="0" parTransId="{648DB72D-3D9F-4189-BF59-CBD457A7C403}" sibTransId="{BE388921-472D-466F-988B-B4E68580E563}"/>
    <dgm:cxn modelId="{48AEBD50-917D-4F56-871A-8AB4351F4B30}" type="presOf" srcId="{5B9D9920-3271-43EA-8829-AA18FE4E39C2}" destId="{1B7C48AD-F086-4382-9346-864CD6C60A42}" srcOrd="1" destOrd="0" presId="urn:microsoft.com/office/officeart/2005/8/layout/process1"/>
    <dgm:cxn modelId="{24310A8F-A693-467D-80AB-E75903CAE610}" type="presOf" srcId="{5B3897B9-D03B-41C7-AFCE-A64A2FED06D2}" destId="{C3CB7730-977A-45AD-8292-2176448E7445}" srcOrd="0" destOrd="0" presId="urn:microsoft.com/office/officeart/2005/8/layout/process1"/>
    <dgm:cxn modelId="{37B880C1-498A-471D-B9D3-A611E7038CAD}" type="presOf" srcId="{09D5EE94-1722-4B73-A4FE-A23E294230A6}" destId="{9F9D11B0-6F3A-4A59-BC98-D419C4C597D7}" srcOrd="1" destOrd="0" presId="urn:microsoft.com/office/officeart/2005/8/layout/process1"/>
    <dgm:cxn modelId="{C5206BC9-B09F-4B08-9AAA-208C0B635A83}" srcId="{52636957-071A-4DB4-846B-B39A6F5A5350}" destId="{8DD8859F-8514-4CD3-BB66-FFA1F2966689}" srcOrd="2" destOrd="0" parTransId="{EEDE61F6-D0D0-40D3-B66B-0F21EEEA0CC6}" sibTransId="{6E34C852-D150-4BB4-8BBE-52666F7F6795}"/>
    <dgm:cxn modelId="{EF31A4C9-A606-40AE-9742-6C76A803D49B}" type="presOf" srcId="{D96F73B1-82A1-4C6C-B9EE-A75ADDA77F49}" destId="{BCF0A716-D580-4459-A951-11001236A12F}" srcOrd="0" destOrd="0" presId="urn:microsoft.com/office/officeart/2005/8/layout/process1"/>
    <dgm:cxn modelId="{0F766ADD-2121-4A9E-8FDB-281126EBFF0C}" srcId="{52636957-071A-4DB4-846B-B39A6F5A5350}" destId="{02205E78-6745-4860-9137-F8122D8EF90E}" srcOrd="1" destOrd="0" parTransId="{063F6AD9-3551-47B9-9D29-F05673ACDBE8}" sibTransId="{5B9D9920-3271-43EA-8829-AA18FE4E39C2}"/>
    <dgm:cxn modelId="{3EE065FB-B16F-429F-B0A3-70921EFBC602}" type="presOf" srcId="{09D5EE94-1722-4B73-A4FE-A23E294230A6}" destId="{3FF53E4F-52C3-4074-8447-41C8DF8BA982}" srcOrd="0" destOrd="0" presId="urn:microsoft.com/office/officeart/2005/8/layout/process1"/>
    <dgm:cxn modelId="{02433B78-E675-48EE-85F4-CD23EEE1D58A}" type="presParOf" srcId="{45F3FC95-F6C3-4449-8E83-C61457824326}" destId="{C3CB7730-977A-45AD-8292-2176448E7445}" srcOrd="0" destOrd="0" presId="urn:microsoft.com/office/officeart/2005/8/layout/process1"/>
    <dgm:cxn modelId="{E6DF013C-4FD8-45B3-A612-DA94EABA012D}" type="presParOf" srcId="{45F3FC95-F6C3-4449-8E83-C61457824326}" destId="{3FF53E4F-52C3-4074-8447-41C8DF8BA982}" srcOrd="1" destOrd="0" presId="urn:microsoft.com/office/officeart/2005/8/layout/process1"/>
    <dgm:cxn modelId="{56D7BE21-F233-4DD0-A9F1-C7C177B70F18}" type="presParOf" srcId="{3FF53E4F-52C3-4074-8447-41C8DF8BA982}" destId="{9F9D11B0-6F3A-4A59-BC98-D419C4C597D7}" srcOrd="0" destOrd="0" presId="urn:microsoft.com/office/officeart/2005/8/layout/process1"/>
    <dgm:cxn modelId="{9C28F7E3-18CD-4F22-B86F-C858DD77FE32}" type="presParOf" srcId="{45F3FC95-F6C3-4449-8E83-C61457824326}" destId="{A7251EFB-CE89-4797-B446-AF1E47C4FDE8}" srcOrd="2" destOrd="0" presId="urn:microsoft.com/office/officeart/2005/8/layout/process1"/>
    <dgm:cxn modelId="{7E8E989D-9F2C-4295-A629-5FDE14F453E9}" type="presParOf" srcId="{45F3FC95-F6C3-4449-8E83-C61457824326}" destId="{26FC9385-CB74-4A5F-AFB2-8E128FC75CF3}" srcOrd="3" destOrd="0" presId="urn:microsoft.com/office/officeart/2005/8/layout/process1"/>
    <dgm:cxn modelId="{07F265E9-0D01-428C-88E3-9883F3F38D4D}" type="presParOf" srcId="{26FC9385-CB74-4A5F-AFB2-8E128FC75CF3}" destId="{1B7C48AD-F086-4382-9346-864CD6C60A42}" srcOrd="0" destOrd="0" presId="urn:microsoft.com/office/officeart/2005/8/layout/process1"/>
    <dgm:cxn modelId="{2174144F-91F6-4C34-8946-7BEEDBF2D978}" type="presParOf" srcId="{45F3FC95-F6C3-4449-8E83-C61457824326}" destId="{C79B5BC4-69D3-4DCB-BFFF-5F230EC33951}" srcOrd="4" destOrd="0" presId="urn:microsoft.com/office/officeart/2005/8/layout/process1"/>
    <dgm:cxn modelId="{57569212-34F1-43D8-AC07-97C3A79AEAEE}" type="presParOf" srcId="{45F3FC95-F6C3-4449-8E83-C61457824326}" destId="{52B2D639-5511-480E-B7FC-C8B12FAC7C32}" srcOrd="5" destOrd="0" presId="urn:microsoft.com/office/officeart/2005/8/layout/process1"/>
    <dgm:cxn modelId="{40CD9DB0-FED8-42E3-AD84-2B804C8DFB6D}" type="presParOf" srcId="{52B2D639-5511-480E-B7FC-C8B12FAC7C32}" destId="{C2457353-813E-425C-B272-D3A6EE8B2096}" srcOrd="0" destOrd="0" presId="urn:microsoft.com/office/officeart/2005/8/layout/process1"/>
    <dgm:cxn modelId="{66E74180-867E-442A-9179-A919429CE6C7}" type="presParOf" srcId="{45F3FC95-F6C3-4449-8E83-C61457824326}" destId="{BCF0A716-D580-4459-A951-11001236A12F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2636957-071A-4DB4-846B-B39A6F5A5350}" type="doc">
      <dgm:prSet loTypeId="urn:microsoft.com/office/officeart/2005/8/layout/process1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B3897B9-D03B-41C7-AFCE-A64A2FED06D2}">
      <dgm:prSet phldrT="[Text]"/>
      <dgm:spPr/>
      <dgm:t>
        <a:bodyPr/>
        <a:lstStyle/>
        <a:p>
          <a:r>
            <a:rPr lang="de-DE" dirty="0"/>
            <a:t>Benutzereingabe</a:t>
          </a:r>
        </a:p>
      </dgm:t>
    </dgm:pt>
    <dgm:pt modelId="{CCAF940B-0B8E-4B52-9797-7397D765886A}" type="parTrans" cxnId="{6AE1E020-CC5F-4A35-A4A0-6D366EFE8C62}">
      <dgm:prSet/>
      <dgm:spPr/>
      <dgm:t>
        <a:bodyPr/>
        <a:lstStyle/>
        <a:p>
          <a:endParaRPr lang="de-DE"/>
        </a:p>
      </dgm:t>
    </dgm:pt>
    <dgm:pt modelId="{09D5EE94-1722-4B73-A4FE-A23E294230A6}" type="sibTrans" cxnId="{6AE1E020-CC5F-4A35-A4A0-6D366EFE8C62}">
      <dgm:prSet/>
      <dgm:spPr/>
      <dgm:t>
        <a:bodyPr/>
        <a:lstStyle/>
        <a:p>
          <a:endParaRPr lang="de-DE"/>
        </a:p>
      </dgm:t>
    </dgm:pt>
    <dgm:pt modelId="{02205E78-6745-4860-9137-F8122D8EF90E}">
      <dgm:prSet phldrT="[Text]"/>
      <dgm:spPr/>
      <dgm:t>
        <a:bodyPr/>
        <a:lstStyle/>
        <a:p>
          <a:r>
            <a:rPr lang="de-DE" dirty="0"/>
            <a:t>Sortieren</a:t>
          </a:r>
        </a:p>
      </dgm:t>
    </dgm:pt>
    <dgm:pt modelId="{063F6AD9-3551-47B9-9D29-F05673ACDBE8}" type="parTrans" cxnId="{0F766ADD-2121-4A9E-8FDB-281126EBFF0C}">
      <dgm:prSet/>
      <dgm:spPr/>
      <dgm:t>
        <a:bodyPr/>
        <a:lstStyle/>
        <a:p>
          <a:endParaRPr lang="de-DE"/>
        </a:p>
      </dgm:t>
    </dgm:pt>
    <dgm:pt modelId="{5B9D9920-3271-43EA-8829-AA18FE4E39C2}" type="sibTrans" cxnId="{0F766ADD-2121-4A9E-8FDB-281126EBFF0C}">
      <dgm:prSet/>
      <dgm:spPr/>
      <dgm:t>
        <a:bodyPr/>
        <a:lstStyle/>
        <a:p>
          <a:endParaRPr lang="de-DE"/>
        </a:p>
      </dgm:t>
    </dgm:pt>
    <dgm:pt modelId="{8DD8859F-8514-4CD3-BB66-FFA1F2966689}">
      <dgm:prSet phldrT="[Text]"/>
      <dgm:spPr/>
      <dgm:t>
        <a:bodyPr/>
        <a:lstStyle/>
        <a:p>
          <a:r>
            <a:rPr lang="de-DE" dirty="0"/>
            <a:t>Anzeigen</a:t>
          </a:r>
        </a:p>
      </dgm:t>
    </dgm:pt>
    <dgm:pt modelId="{EEDE61F6-D0D0-40D3-B66B-0F21EEEA0CC6}" type="parTrans" cxnId="{C5206BC9-B09F-4B08-9AAA-208C0B635A83}">
      <dgm:prSet/>
      <dgm:spPr/>
      <dgm:t>
        <a:bodyPr/>
        <a:lstStyle/>
        <a:p>
          <a:endParaRPr lang="de-DE"/>
        </a:p>
      </dgm:t>
    </dgm:pt>
    <dgm:pt modelId="{6E34C852-D150-4BB4-8BBE-52666F7F6795}" type="sibTrans" cxnId="{C5206BC9-B09F-4B08-9AAA-208C0B635A83}">
      <dgm:prSet/>
      <dgm:spPr/>
      <dgm:t>
        <a:bodyPr/>
        <a:lstStyle/>
        <a:p>
          <a:endParaRPr lang="de-DE"/>
        </a:p>
      </dgm:t>
    </dgm:pt>
    <dgm:pt modelId="{D96F73B1-82A1-4C6C-B9EE-A75ADDA77F49}">
      <dgm:prSet/>
      <dgm:spPr/>
      <dgm:t>
        <a:bodyPr/>
        <a:lstStyle/>
        <a:p>
          <a:r>
            <a:rPr lang="de-DE" dirty="0" err="1"/>
            <a:t>Kommisionierungsauftrag</a:t>
          </a:r>
          <a:endParaRPr lang="de-DE" dirty="0"/>
        </a:p>
      </dgm:t>
    </dgm:pt>
    <dgm:pt modelId="{648DB72D-3D9F-4189-BF59-CBD457A7C403}" type="parTrans" cxnId="{CCBBBE4B-3CF2-4D8E-BBED-EF8347BF6DD1}">
      <dgm:prSet/>
      <dgm:spPr/>
      <dgm:t>
        <a:bodyPr/>
        <a:lstStyle/>
        <a:p>
          <a:endParaRPr lang="de-DE"/>
        </a:p>
      </dgm:t>
    </dgm:pt>
    <dgm:pt modelId="{BE388921-472D-466F-988B-B4E68580E563}" type="sibTrans" cxnId="{CCBBBE4B-3CF2-4D8E-BBED-EF8347BF6DD1}">
      <dgm:prSet/>
      <dgm:spPr/>
      <dgm:t>
        <a:bodyPr/>
        <a:lstStyle/>
        <a:p>
          <a:endParaRPr lang="de-DE"/>
        </a:p>
      </dgm:t>
    </dgm:pt>
    <dgm:pt modelId="{45F3FC95-F6C3-4449-8E83-C61457824326}" type="pres">
      <dgm:prSet presAssocID="{52636957-071A-4DB4-846B-B39A6F5A5350}" presName="Name0" presStyleCnt="0">
        <dgm:presLayoutVars>
          <dgm:dir/>
          <dgm:resizeHandles val="exact"/>
        </dgm:presLayoutVars>
      </dgm:prSet>
      <dgm:spPr/>
    </dgm:pt>
    <dgm:pt modelId="{C3CB7730-977A-45AD-8292-2176448E7445}" type="pres">
      <dgm:prSet presAssocID="{5B3897B9-D03B-41C7-AFCE-A64A2FED06D2}" presName="node" presStyleLbl="node1" presStyleIdx="0" presStyleCnt="4" custScaleX="71454" custScaleY="57355">
        <dgm:presLayoutVars>
          <dgm:bulletEnabled val="1"/>
        </dgm:presLayoutVars>
      </dgm:prSet>
      <dgm:spPr/>
    </dgm:pt>
    <dgm:pt modelId="{3FF53E4F-52C3-4074-8447-41C8DF8BA982}" type="pres">
      <dgm:prSet presAssocID="{09D5EE94-1722-4B73-A4FE-A23E294230A6}" presName="sibTrans" presStyleLbl="sibTrans2D1" presStyleIdx="0" presStyleCnt="3"/>
      <dgm:spPr/>
    </dgm:pt>
    <dgm:pt modelId="{9F9D11B0-6F3A-4A59-BC98-D419C4C597D7}" type="pres">
      <dgm:prSet presAssocID="{09D5EE94-1722-4B73-A4FE-A23E294230A6}" presName="connectorText" presStyleLbl="sibTrans2D1" presStyleIdx="0" presStyleCnt="3"/>
      <dgm:spPr/>
    </dgm:pt>
    <dgm:pt modelId="{A7251EFB-CE89-4797-B446-AF1E47C4FDE8}" type="pres">
      <dgm:prSet presAssocID="{02205E78-6745-4860-9137-F8122D8EF90E}" presName="node" presStyleLbl="node1" presStyleIdx="1" presStyleCnt="4" custScaleX="59076" custScaleY="57355">
        <dgm:presLayoutVars>
          <dgm:bulletEnabled val="1"/>
        </dgm:presLayoutVars>
      </dgm:prSet>
      <dgm:spPr/>
    </dgm:pt>
    <dgm:pt modelId="{26FC9385-CB74-4A5F-AFB2-8E128FC75CF3}" type="pres">
      <dgm:prSet presAssocID="{5B9D9920-3271-43EA-8829-AA18FE4E39C2}" presName="sibTrans" presStyleLbl="sibTrans2D1" presStyleIdx="1" presStyleCnt="3"/>
      <dgm:spPr/>
    </dgm:pt>
    <dgm:pt modelId="{1B7C48AD-F086-4382-9346-864CD6C60A42}" type="pres">
      <dgm:prSet presAssocID="{5B9D9920-3271-43EA-8829-AA18FE4E39C2}" presName="connectorText" presStyleLbl="sibTrans2D1" presStyleIdx="1" presStyleCnt="3"/>
      <dgm:spPr/>
    </dgm:pt>
    <dgm:pt modelId="{C79B5BC4-69D3-4DCB-BFFF-5F230EC33951}" type="pres">
      <dgm:prSet presAssocID="{8DD8859F-8514-4CD3-BB66-FFA1F2966689}" presName="node" presStyleLbl="node1" presStyleIdx="2" presStyleCnt="4" custScaleX="69377" custScaleY="57355">
        <dgm:presLayoutVars>
          <dgm:bulletEnabled val="1"/>
        </dgm:presLayoutVars>
      </dgm:prSet>
      <dgm:spPr/>
    </dgm:pt>
    <dgm:pt modelId="{52B2D639-5511-480E-B7FC-C8B12FAC7C32}" type="pres">
      <dgm:prSet presAssocID="{6E34C852-D150-4BB4-8BBE-52666F7F6795}" presName="sibTrans" presStyleLbl="sibTrans2D1" presStyleIdx="2" presStyleCnt="3"/>
      <dgm:spPr/>
    </dgm:pt>
    <dgm:pt modelId="{C2457353-813E-425C-B272-D3A6EE8B2096}" type="pres">
      <dgm:prSet presAssocID="{6E34C852-D150-4BB4-8BBE-52666F7F6795}" presName="connectorText" presStyleLbl="sibTrans2D1" presStyleIdx="2" presStyleCnt="3"/>
      <dgm:spPr/>
    </dgm:pt>
    <dgm:pt modelId="{BCF0A716-D580-4459-A951-11001236A12F}" type="pres">
      <dgm:prSet presAssocID="{D96F73B1-82A1-4C6C-B9EE-A75ADDA77F49}" presName="node" presStyleLbl="node1" presStyleIdx="3" presStyleCnt="4" custScaleY="58177" custLinFactNeighborX="3253" custLinFactNeighborY="-1329">
        <dgm:presLayoutVars>
          <dgm:bulletEnabled val="1"/>
        </dgm:presLayoutVars>
      </dgm:prSet>
      <dgm:spPr/>
    </dgm:pt>
  </dgm:ptLst>
  <dgm:cxnLst>
    <dgm:cxn modelId="{8D47990D-C36C-4789-B283-4930B24C6B0E}" type="presOf" srcId="{5B9D9920-3271-43EA-8829-AA18FE4E39C2}" destId="{26FC9385-CB74-4A5F-AFB2-8E128FC75CF3}" srcOrd="0" destOrd="0" presId="urn:microsoft.com/office/officeart/2005/8/layout/process1"/>
    <dgm:cxn modelId="{6AE1E020-CC5F-4A35-A4A0-6D366EFE8C62}" srcId="{52636957-071A-4DB4-846B-B39A6F5A5350}" destId="{5B3897B9-D03B-41C7-AFCE-A64A2FED06D2}" srcOrd="0" destOrd="0" parTransId="{CCAF940B-0B8E-4B52-9797-7397D765886A}" sibTransId="{09D5EE94-1722-4B73-A4FE-A23E294230A6}"/>
    <dgm:cxn modelId="{4B1AA440-DE5A-43F9-9920-E7B639ACE5B2}" type="presOf" srcId="{6E34C852-D150-4BB4-8BBE-52666F7F6795}" destId="{52B2D639-5511-480E-B7FC-C8B12FAC7C32}" srcOrd="0" destOrd="0" presId="urn:microsoft.com/office/officeart/2005/8/layout/process1"/>
    <dgm:cxn modelId="{50B6D365-66AD-43EB-BAB8-557C329D23EA}" type="presOf" srcId="{6E34C852-D150-4BB4-8BBE-52666F7F6795}" destId="{C2457353-813E-425C-B272-D3A6EE8B2096}" srcOrd="1" destOrd="0" presId="urn:microsoft.com/office/officeart/2005/8/layout/process1"/>
    <dgm:cxn modelId="{F905D767-3CD7-4B74-BC14-25D7246D565C}" type="presOf" srcId="{8DD8859F-8514-4CD3-BB66-FFA1F2966689}" destId="{C79B5BC4-69D3-4DCB-BFFF-5F230EC33951}" srcOrd="0" destOrd="0" presId="urn:microsoft.com/office/officeart/2005/8/layout/process1"/>
    <dgm:cxn modelId="{67BB9E49-EEC1-4DE4-AD36-8D4D62E7988C}" type="presOf" srcId="{02205E78-6745-4860-9137-F8122D8EF90E}" destId="{A7251EFB-CE89-4797-B446-AF1E47C4FDE8}" srcOrd="0" destOrd="0" presId="urn:microsoft.com/office/officeart/2005/8/layout/process1"/>
    <dgm:cxn modelId="{4ECE566B-939A-4C67-B045-2628C2B38405}" type="presOf" srcId="{52636957-071A-4DB4-846B-B39A6F5A5350}" destId="{45F3FC95-F6C3-4449-8E83-C61457824326}" srcOrd="0" destOrd="0" presId="urn:microsoft.com/office/officeart/2005/8/layout/process1"/>
    <dgm:cxn modelId="{CCBBBE4B-3CF2-4D8E-BBED-EF8347BF6DD1}" srcId="{52636957-071A-4DB4-846B-B39A6F5A5350}" destId="{D96F73B1-82A1-4C6C-B9EE-A75ADDA77F49}" srcOrd="3" destOrd="0" parTransId="{648DB72D-3D9F-4189-BF59-CBD457A7C403}" sibTransId="{BE388921-472D-466F-988B-B4E68580E563}"/>
    <dgm:cxn modelId="{48AEBD50-917D-4F56-871A-8AB4351F4B30}" type="presOf" srcId="{5B9D9920-3271-43EA-8829-AA18FE4E39C2}" destId="{1B7C48AD-F086-4382-9346-864CD6C60A42}" srcOrd="1" destOrd="0" presId="urn:microsoft.com/office/officeart/2005/8/layout/process1"/>
    <dgm:cxn modelId="{24310A8F-A693-467D-80AB-E75903CAE610}" type="presOf" srcId="{5B3897B9-D03B-41C7-AFCE-A64A2FED06D2}" destId="{C3CB7730-977A-45AD-8292-2176448E7445}" srcOrd="0" destOrd="0" presId="urn:microsoft.com/office/officeart/2005/8/layout/process1"/>
    <dgm:cxn modelId="{37B880C1-498A-471D-B9D3-A611E7038CAD}" type="presOf" srcId="{09D5EE94-1722-4B73-A4FE-A23E294230A6}" destId="{9F9D11B0-6F3A-4A59-BC98-D419C4C597D7}" srcOrd="1" destOrd="0" presId="urn:microsoft.com/office/officeart/2005/8/layout/process1"/>
    <dgm:cxn modelId="{C5206BC9-B09F-4B08-9AAA-208C0B635A83}" srcId="{52636957-071A-4DB4-846B-B39A6F5A5350}" destId="{8DD8859F-8514-4CD3-BB66-FFA1F2966689}" srcOrd="2" destOrd="0" parTransId="{EEDE61F6-D0D0-40D3-B66B-0F21EEEA0CC6}" sibTransId="{6E34C852-D150-4BB4-8BBE-52666F7F6795}"/>
    <dgm:cxn modelId="{EF31A4C9-A606-40AE-9742-6C76A803D49B}" type="presOf" srcId="{D96F73B1-82A1-4C6C-B9EE-A75ADDA77F49}" destId="{BCF0A716-D580-4459-A951-11001236A12F}" srcOrd="0" destOrd="0" presId="urn:microsoft.com/office/officeart/2005/8/layout/process1"/>
    <dgm:cxn modelId="{0F766ADD-2121-4A9E-8FDB-281126EBFF0C}" srcId="{52636957-071A-4DB4-846B-B39A6F5A5350}" destId="{02205E78-6745-4860-9137-F8122D8EF90E}" srcOrd="1" destOrd="0" parTransId="{063F6AD9-3551-47B9-9D29-F05673ACDBE8}" sibTransId="{5B9D9920-3271-43EA-8829-AA18FE4E39C2}"/>
    <dgm:cxn modelId="{3EE065FB-B16F-429F-B0A3-70921EFBC602}" type="presOf" srcId="{09D5EE94-1722-4B73-A4FE-A23E294230A6}" destId="{3FF53E4F-52C3-4074-8447-41C8DF8BA982}" srcOrd="0" destOrd="0" presId="urn:microsoft.com/office/officeart/2005/8/layout/process1"/>
    <dgm:cxn modelId="{02433B78-E675-48EE-85F4-CD23EEE1D58A}" type="presParOf" srcId="{45F3FC95-F6C3-4449-8E83-C61457824326}" destId="{C3CB7730-977A-45AD-8292-2176448E7445}" srcOrd="0" destOrd="0" presId="urn:microsoft.com/office/officeart/2005/8/layout/process1"/>
    <dgm:cxn modelId="{E6DF013C-4FD8-45B3-A612-DA94EABA012D}" type="presParOf" srcId="{45F3FC95-F6C3-4449-8E83-C61457824326}" destId="{3FF53E4F-52C3-4074-8447-41C8DF8BA982}" srcOrd="1" destOrd="0" presId="urn:microsoft.com/office/officeart/2005/8/layout/process1"/>
    <dgm:cxn modelId="{56D7BE21-F233-4DD0-A9F1-C7C177B70F18}" type="presParOf" srcId="{3FF53E4F-52C3-4074-8447-41C8DF8BA982}" destId="{9F9D11B0-6F3A-4A59-BC98-D419C4C597D7}" srcOrd="0" destOrd="0" presId="urn:microsoft.com/office/officeart/2005/8/layout/process1"/>
    <dgm:cxn modelId="{9C28F7E3-18CD-4F22-B86F-C858DD77FE32}" type="presParOf" srcId="{45F3FC95-F6C3-4449-8E83-C61457824326}" destId="{A7251EFB-CE89-4797-B446-AF1E47C4FDE8}" srcOrd="2" destOrd="0" presId="urn:microsoft.com/office/officeart/2005/8/layout/process1"/>
    <dgm:cxn modelId="{7E8E989D-9F2C-4295-A629-5FDE14F453E9}" type="presParOf" srcId="{45F3FC95-F6C3-4449-8E83-C61457824326}" destId="{26FC9385-CB74-4A5F-AFB2-8E128FC75CF3}" srcOrd="3" destOrd="0" presId="urn:microsoft.com/office/officeart/2005/8/layout/process1"/>
    <dgm:cxn modelId="{07F265E9-0D01-428C-88E3-9883F3F38D4D}" type="presParOf" srcId="{26FC9385-CB74-4A5F-AFB2-8E128FC75CF3}" destId="{1B7C48AD-F086-4382-9346-864CD6C60A42}" srcOrd="0" destOrd="0" presId="urn:microsoft.com/office/officeart/2005/8/layout/process1"/>
    <dgm:cxn modelId="{2174144F-91F6-4C34-8946-7BEEDBF2D978}" type="presParOf" srcId="{45F3FC95-F6C3-4449-8E83-C61457824326}" destId="{C79B5BC4-69D3-4DCB-BFFF-5F230EC33951}" srcOrd="4" destOrd="0" presId="urn:microsoft.com/office/officeart/2005/8/layout/process1"/>
    <dgm:cxn modelId="{57569212-34F1-43D8-AC07-97C3A79AEAEE}" type="presParOf" srcId="{45F3FC95-F6C3-4449-8E83-C61457824326}" destId="{52B2D639-5511-480E-B7FC-C8B12FAC7C32}" srcOrd="5" destOrd="0" presId="urn:microsoft.com/office/officeart/2005/8/layout/process1"/>
    <dgm:cxn modelId="{40CD9DB0-FED8-42E3-AD84-2B804C8DFB6D}" type="presParOf" srcId="{52B2D639-5511-480E-B7FC-C8B12FAC7C32}" destId="{C2457353-813E-425C-B272-D3A6EE8B2096}" srcOrd="0" destOrd="0" presId="urn:microsoft.com/office/officeart/2005/8/layout/process1"/>
    <dgm:cxn modelId="{66E74180-867E-442A-9179-A919429CE6C7}" type="presParOf" srcId="{45F3FC95-F6C3-4449-8E83-C61457824326}" destId="{BCF0A716-D580-4459-A951-11001236A12F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CB7730-977A-45AD-8292-2176448E7445}">
      <dsp:nvSpPr>
        <dsp:cNvPr id="0" name=""/>
        <dsp:cNvSpPr/>
      </dsp:nvSpPr>
      <dsp:spPr>
        <a:xfrm>
          <a:off x="8104" y="981264"/>
          <a:ext cx="2126581" cy="73495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Benutzereingabe</a:t>
          </a:r>
        </a:p>
      </dsp:txBody>
      <dsp:txXfrm>
        <a:off x="29630" y="1002790"/>
        <a:ext cx="2083529" cy="691899"/>
      </dsp:txXfrm>
    </dsp:sp>
    <dsp:sp modelId="{3FF53E4F-52C3-4074-8447-41C8DF8BA982}">
      <dsp:nvSpPr>
        <dsp:cNvPr id="0" name=""/>
        <dsp:cNvSpPr/>
      </dsp:nvSpPr>
      <dsp:spPr>
        <a:xfrm>
          <a:off x="2266364" y="1083915"/>
          <a:ext cx="616542" cy="52964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200" kern="1200"/>
        </a:p>
      </dsp:txBody>
      <dsp:txXfrm>
        <a:off x="2266364" y="1189845"/>
        <a:ext cx="457648" cy="317788"/>
      </dsp:txXfrm>
    </dsp:sp>
    <dsp:sp modelId="{A7251EFB-CE89-4797-B446-AF1E47C4FDE8}">
      <dsp:nvSpPr>
        <dsp:cNvPr id="0" name=""/>
        <dsp:cNvSpPr/>
      </dsp:nvSpPr>
      <dsp:spPr>
        <a:xfrm>
          <a:off x="2988957" y="981264"/>
          <a:ext cx="1361816" cy="73495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Sortieren</a:t>
          </a:r>
        </a:p>
      </dsp:txBody>
      <dsp:txXfrm>
        <a:off x="3010483" y="1002790"/>
        <a:ext cx="1318764" cy="691899"/>
      </dsp:txXfrm>
    </dsp:sp>
    <dsp:sp modelId="{26FC9385-CB74-4A5F-AFB2-8E128FC75CF3}">
      <dsp:nvSpPr>
        <dsp:cNvPr id="0" name=""/>
        <dsp:cNvSpPr/>
      </dsp:nvSpPr>
      <dsp:spPr>
        <a:xfrm>
          <a:off x="4451592" y="1083915"/>
          <a:ext cx="678263" cy="52964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200" kern="1200"/>
        </a:p>
      </dsp:txBody>
      <dsp:txXfrm>
        <a:off x="4451592" y="1189845"/>
        <a:ext cx="519369" cy="317788"/>
      </dsp:txXfrm>
    </dsp:sp>
    <dsp:sp modelId="{C79B5BC4-69D3-4DCB-BFFF-5F230EC33951}">
      <dsp:nvSpPr>
        <dsp:cNvPr id="0" name=""/>
        <dsp:cNvSpPr/>
      </dsp:nvSpPr>
      <dsp:spPr>
        <a:xfrm>
          <a:off x="5205045" y="981264"/>
          <a:ext cx="1611177" cy="73495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Anzeigen</a:t>
          </a:r>
        </a:p>
      </dsp:txBody>
      <dsp:txXfrm>
        <a:off x="5226571" y="1002790"/>
        <a:ext cx="1568125" cy="691899"/>
      </dsp:txXfrm>
    </dsp:sp>
    <dsp:sp modelId="{52B2D639-5511-480E-B7FC-C8B12FAC7C32}">
      <dsp:nvSpPr>
        <dsp:cNvPr id="0" name=""/>
        <dsp:cNvSpPr/>
      </dsp:nvSpPr>
      <dsp:spPr>
        <a:xfrm rot="21582340">
          <a:off x="6903952" y="1077495"/>
          <a:ext cx="712788" cy="52964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200" kern="1200"/>
        </a:p>
      </dsp:txBody>
      <dsp:txXfrm>
        <a:off x="6903953" y="1183833"/>
        <a:ext cx="553894" cy="317788"/>
      </dsp:txXfrm>
    </dsp:sp>
    <dsp:sp modelId="{BCF0A716-D580-4459-A951-11001236A12F}">
      <dsp:nvSpPr>
        <dsp:cNvPr id="0" name=""/>
        <dsp:cNvSpPr/>
      </dsp:nvSpPr>
      <dsp:spPr>
        <a:xfrm>
          <a:off x="7678599" y="958967"/>
          <a:ext cx="3294200" cy="7454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 err="1"/>
            <a:t>Kommisionierungsauftrag</a:t>
          </a:r>
          <a:endParaRPr lang="de-DE" sz="2000" kern="1200" dirty="0"/>
        </a:p>
      </dsp:txBody>
      <dsp:txXfrm>
        <a:off x="7700433" y="980801"/>
        <a:ext cx="3250532" cy="7018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CB7730-977A-45AD-8292-2176448E7445}">
      <dsp:nvSpPr>
        <dsp:cNvPr id="0" name=""/>
        <dsp:cNvSpPr/>
      </dsp:nvSpPr>
      <dsp:spPr>
        <a:xfrm>
          <a:off x="2554" y="635496"/>
          <a:ext cx="1866331" cy="89884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Benutzereingabe</a:t>
          </a:r>
        </a:p>
      </dsp:txBody>
      <dsp:txXfrm>
        <a:off x="28880" y="661822"/>
        <a:ext cx="1813679" cy="846192"/>
      </dsp:txXfrm>
    </dsp:sp>
    <dsp:sp modelId="{3FF53E4F-52C3-4074-8447-41C8DF8BA982}">
      <dsp:nvSpPr>
        <dsp:cNvPr id="0" name=""/>
        <dsp:cNvSpPr/>
      </dsp:nvSpPr>
      <dsp:spPr>
        <a:xfrm>
          <a:off x="2130078" y="761038"/>
          <a:ext cx="553729" cy="647759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/>
        </a:p>
      </dsp:txBody>
      <dsp:txXfrm>
        <a:off x="2130078" y="890590"/>
        <a:ext cx="387610" cy="388655"/>
      </dsp:txXfrm>
    </dsp:sp>
    <dsp:sp modelId="{A7251EFB-CE89-4797-B446-AF1E47C4FDE8}">
      <dsp:nvSpPr>
        <dsp:cNvPr id="0" name=""/>
        <dsp:cNvSpPr/>
      </dsp:nvSpPr>
      <dsp:spPr>
        <a:xfrm>
          <a:off x="2913658" y="635496"/>
          <a:ext cx="1543025" cy="89884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Sortieren</a:t>
          </a:r>
        </a:p>
      </dsp:txBody>
      <dsp:txXfrm>
        <a:off x="2939984" y="661822"/>
        <a:ext cx="1490373" cy="846192"/>
      </dsp:txXfrm>
    </dsp:sp>
    <dsp:sp modelId="{26FC9385-CB74-4A5F-AFB2-8E128FC75CF3}">
      <dsp:nvSpPr>
        <dsp:cNvPr id="0" name=""/>
        <dsp:cNvSpPr/>
      </dsp:nvSpPr>
      <dsp:spPr>
        <a:xfrm>
          <a:off x="4717877" y="761038"/>
          <a:ext cx="553729" cy="647759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/>
        </a:p>
      </dsp:txBody>
      <dsp:txXfrm>
        <a:off x="4717877" y="890590"/>
        <a:ext cx="387610" cy="388655"/>
      </dsp:txXfrm>
    </dsp:sp>
    <dsp:sp modelId="{C79B5BC4-69D3-4DCB-BFFF-5F230EC33951}">
      <dsp:nvSpPr>
        <dsp:cNvPr id="0" name=""/>
        <dsp:cNvSpPr/>
      </dsp:nvSpPr>
      <dsp:spPr>
        <a:xfrm>
          <a:off x="5501457" y="635496"/>
          <a:ext cx="1812081" cy="89884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Anzeigen</a:t>
          </a:r>
        </a:p>
      </dsp:txBody>
      <dsp:txXfrm>
        <a:off x="5527783" y="661822"/>
        <a:ext cx="1759429" cy="846192"/>
      </dsp:txXfrm>
    </dsp:sp>
    <dsp:sp modelId="{52B2D639-5511-480E-B7FC-C8B12FAC7C32}">
      <dsp:nvSpPr>
        <dsp:cNvPr id="0" name=""/>
        <dsp:cNvSpPr/>
      </dsp:nvSpPr>
      <dsp:spPr>
        <a:xfrm rot="21578033">
          <a:off x="7575365" y="751802"/>
          <a:ext cx="555094" cy="647759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/>
        </a:p>
      </dsp:txBody>
      <dsp:txXfrm>
        <a:off x="7575367" y="881886"/>
        <a:ext cx="388566" cy="388655"/>
      </dsp:txXfrm>
    </dsp:sp>
    <dsp:sp modelId="{BCF0A716-D580-4459-A951-11001236A12F}">
      <dsp:nvSpPr>
        <dsp:cNvPr id="0" name=""/>
        <dsp:cNvSpPr/>
      </dsp:nvSpPr>
      <dsp:spPr>
        <a:xfrm>
          <a:off x="8360866" y="608227"/>
          <a:ext cx="2611933" cy="91172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 err="1"/>
            <a:t>Kommisionierungsauftrag</a:t>
          </a:r>
          <a:endParaRPr lang="de-DE" sz="1700" kern="1200" dirty="0"/>
        </a:p>
      </dsp:txBody>
      <dsp:txXfrm>
        <a:off x="8387570" y="634931"/>
        <a:ext cx="2558525" cy="8583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C00C73-C588-4688-B0C9-84EAEAB1EE91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082548-7BBA-4ED1-AE40-AB77A208B4B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8350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52CCF4-588D-4A1E-AD8B-D9D282C866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2CEE49A-ADEF-4AA6-BC59-E093DFDCAC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E122-1D53-4C8D-8EC3-1E277D415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02ED76-F2BC-4075-8868-98C70EB56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17F1A6-A718-4CCA-B0B5-A627C3B40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8985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6D509-09F0-4C68-BDBE-E9BF71EDB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21A0A30-8A5E-42A3-BCC5-5611360DD7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0C28BC-794E-460A-9B22-252813EB0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D1C39A-6123-4A1D-B3A1-D31C9EC37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DD032E-3A82-4BC7-9932-222A83257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865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3A0EF9A-C8DD-4602-BF77-5D285916D0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A8CF6EE-6554-42EB-85FD-B7884A78AC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5BB68D5-D1F4-45BD-87F0-387983D30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20EC65-738E-48BC-8F7B-8989BC1E8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4E1F5B-8003-4285-A998-F0B03F6AE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032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1FBA3-2079-E6B1-0A35-DD418275BA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CB198F-8649-67A6-2C3F-D3951A2ADA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DB8644-5F7E-BE76-598C-ABDE81A2B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38F17E-6A13-8656-40CB-819A0B569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BB9186-B89D-7DDB-C7E1-98DFF990C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078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7E3716-668C-888F-3696-7CB4D7A7A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C97A04-A8FD-7E69-4B20-95CB7DAEA7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E982B0-D355-4C21-9E08-F3067BF61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55D7F4-233A-16E9-9F5D-BC66FA4AD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75D9781-3B99-1C8B-0DC8-6EC5CE41C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17668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1E24EE-A109-B29F-AB95-A2BB5B063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4926F-DD01-06E4-F7A3-8D698588BD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4A27F5-7802-1A60-311D-0803D37109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90A260-2619-2EF5-6A27-1520789D1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1BEE66-A2F7-AB1C-07DA-634E4D4ED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7958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C9FCCD-5C97-93F5-E9A1-BECA38D08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74D87BF-E6FC-232F-0EC0-DB27F3C9F0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31E3568-5DF3-6D56-2707-9930FB54BF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AEAA949-AF83-01F6-5116-9F3E49654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E29AAC-7D80-604C-07D7-3A0AAF52D6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ED3D220-CC77-936A-4785-13353E59C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069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DABAFF-3791-3981-2A26-3D94F1AC0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8CEB7-FB92-31AE-836B-69E360BBD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406DF0-F3A0-27F4-7191-B7ADEC7170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8829A13-B6DD-FBD6-D9D2-6CC4668AFE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ED0E447-E00A-A32E-A8D4-9268DD4032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6FF0E60-32D7-E2BF-C167-2730A718D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EB3079F-40A4-E975-B22A-49B4A91DF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A0BC9D0-856A-B400-AE85-E141059A7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36795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220F6E-2771-6D31-3D84-D030E09F4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A6A6C1-6A0A-3C12-0429-7B0F92008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16E8DD-1154-ABE2-D04E-FBE25A35A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A4EE9C-4A4F-2042-CFF3-7F5277779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2413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B04C5C-F5F6-240A-F304-AD9572848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EC79F6-893D-C88F-96DE-210C9BA77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07ADCF-3FDE-30CA-73AC-D793D9598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9536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BFE25A-C7DE-A4EA-D2F1-6ECFCC682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D80EC1-4FDF-9714-AAB1-0AACC67473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14869F-7150-019D-0CE6-E3D2C7D999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CCA0CBF-D7CD-A58A-93CF-6F939895F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3043FC1-6D88-AD86-66AA-613F238DF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9272EB-7668-5715-823B-62771A581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4920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DE432-A171-4FB0-81DE-A0BB46500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306AE0-7075-4F61-AC7D-6D91686C46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6F4392-DB73-4395-BA08-60344B0F1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248FA5-0AC0-4126-BE45-18E4A8D900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651D7C-3F69-41F8-8718-52076D187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51280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C3C93F-5828-7AF3-5E95-91C017BE0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20E6FA4-459B-A1CB-2AD8-0C5F07C3EE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139160-344A-9B07-63A4-75B60CCB12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37C873-E871-0043-2B25-9EE097883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836AE2-B575-7589-44BE-36B00458A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E3D835B-5F30-9F10-9F47-758D94AB1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5918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6BA33E-C1CA-3A0E-9705-199F5D4DB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05B03A3-E3EB-10A3-BBA4-9F0B41410A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E61E857-26C1-9500-C91E-1662D1C4C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AB0321F-6221-A7B6-0621-734200C0A1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2687038-54AF-B8EE-9AF9-C7A8926E3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53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25CDA5D2-45D9-2677-C613-D2561971CC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69EF006-CDE7-7D94-57C8-A681B5D014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AB7E78-3B9F-26D9-042A-BF3967ABB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374938-5FE1-B3CB-F413-95E1FD0CF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150992-24E9-234E-33B3-692472CC6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40678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192.168.2.117\daten\Kunden\EDEKA\Lange Mastervorlagen\Grafik\Edeka_Inhalt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959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388" name="Rectangle 4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959833" y="2235444"/>
            <a:ext cx="9167915" cy="1900180"/>
          </a:xfrm>
        </p:spPr>
        <p:txBody>
          <a:bodyPr bIns="0" anchor="b" anchorCtr="0"/>
          <a:lstStyle>
            <a:lvl1pPr>
              <a:defRPr sz="6665"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144389" name="Rectangle 5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959833" y="4289876"/>
            <a:ext cx="9167915" cy="1153227"/>
          </a:xfrm>
        </p:spPr>
        <p:txBody>
          <a:bodyPr/>
          <a:lstStyle>
            <a:lvl1pPr marL="0" indent="0">
              <a:buNone/>
              <a:defRPr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de-DE" noProof="0"/>
              <a:t>Master-Un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FD04EF4-3C17-9E43-8EFE-0506239C3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959581"/>
          </a:xfrm>
          <a:prstGeom prst="rect">
            <a:avLst/>
          </a:prstGeom>
        </p:spPr>
      </p:pic>
      <p:pic>
        <p:nvPicPr>
          <p:cNvPr id="7" name="Picture 2" descr="C:\Kunden\Edeka\Lange Mastervorlagen\Grafik\16zu9\EDEKA-Claim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033" y="73283"/>
            <a:ext cx="4647934" cy="81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C:\Users\Anna\Desktop\WCI_EDEKA-Werbung_3D-EDEKA-Logo_Breite-200mm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444" y="5512651"/>
            <a:ext cx="807081" cy="959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58684" y="5512216"/>
            <a:ext cx="9166408" cy="603063"/>
          </a:xfrm>
        </p:spPr>
        <p:txBody>
          <a:bodyPr/>
          <a:lstStyle>
            <a:lvl1pPr marL="0" indent="0">
              <a:buNone/>
              <a:defRPr sz="1866"/>
            </a:lvl1pPr>
          </a:lstStyle>
          <a:p>
            <a:pPr lvl="0"/>
            <a:r>
              <a:rPr lang="de-DE"/>
              <a:t>Ort bzw. Anlass  |  Datum  |  Vortragender</a:t>
            </a:r>
          </a:p>
        </p:txBody>
      </p:sp>
    </p:spTree>
    <p:extLst>
      <p:ext uri="{BB962C8B-B14F-4D97-AF65-F5344CB8AC3E}">
        <p14:creationId xmlns:p14="http://schemas.microsoft.com/office/powerpoint/2010/main" val="29097837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769" y="0"/>
            <a:ext cx="10797389" cy="95958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959833" y="1516466"/>
            <a:ext cx="10798325" cy="4701880"/>
          </a:xfrm>
        </p:spPr>
        <p:txBody>
          <a:bodyPr/>
          <a:lstStyle>
            <a:lvl1pPr marL="355484" indent="-355484">
              <a:spcBef>
                <a:spcPts val="1066"/>
              </a:spcBef>
              <a:buClr>
                <a:schemeClr val="accent1"/>
              </a:buClr>
              <a:defRPr sz="2399" b="0">
                <a:solidFill>
                  <a:schemeClr val="tx1"/>
                </a:solidFill>
                <a:latin typeface="Arial Narrow" pitchFamily="34" charset="0"/>
              </a:defRPr>
            </a:lvl1pPr>
            <a:lvl2pPr marL="721549" indent="-366065">
              <a:spcBef>
                <a:spcPts val="533"/>
              </a:spcBef>
              <a:buClr>
                <a:schemeClr val="accent2"/>
              </a:buClr>
              <a:tabLst/>
              <a:defRPr sz="2399">
                <a:latin typeface="Arial Narrow" pitchFamily="34" charset="0"/>
              </a:defRPr>
            </a:lvl2pPr>
            <a:lvl3pPr marL="1077034" indent="-355484">
              <a:spcBef>
                <a:spcPts val="533"/>
              </a:spcBef>
              <a:buClr>
                <a:schemeClr val="accent3"/>
              </a:buClr>
              <a:defRPr sz="2133">
                <a:latin typeface="Arial Narrow" pitchFamily="34" charset="0"/>
              </a:defRPr>
            </a:lvl3pPr>
            <a:lvl4pPr marL="0" indent="0">
              <a:spcBef>
                <a:spcPts val="1599"/>
              </a:spcBef>
              <a:buNone/>
              <a:defRPr sz="2399" b="1">
                <a:latin typeface="Arial Narrow" pitchFamily="34" charset="0"/>
              </a:defRPr>
            </a:lvl4pPr>
            <a:lvl5pPr marL="0" indent="0">
              <a:spcBef>
                <a:spcPts val="1066"/>
              </a:spcBef>
              <a:spcAft>
                <a:spcPts val="0"/>
              </a:spcAft>
              <a:buNone/>
              <a:defRPr sz="2399">
                <a:latin typeface="Arial Narrow" pitchFamily="34" charset="0"/>
              </a:defRPr>
            </a:lvl5pPr>
          </a:lstStyle>
          <a:p>
            <a:pPr lvl="0"/>
            <a:r>
              <a:rPr lang="de-DE"/>
              <a:t>Erste Textebene</a:t>
            </a:r>
          </a:p>
          <a:p>
            <a:pPr lvl="1"/>
            <a:r>
              <a:rPr lang="de-DE"/>
              <a:t>Zweite Textebene</a:t>
            </a:r>
          </a:p>
          <a:p>
            <a:pPr lvl="2"/>
            <a:r>
              <a:rPr lang="de-DE"/>
              <a:t>Dritte Textebene</a:t>
            </a:r>
          </a:p>
          <a:p>
            <a:pPr lvl="3"/>
            <a:r>
              <a:rPr lang="de-DE"/>
              <a:t>Subheadline</a:t>
            </a:r>
          </a:p>
          <a:p>
            <a:pPr lvl="4"/>
            <a:r>
              <a:rPr lang="de-DE"/>
              <a:t>Fließtext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7570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769" y="0"/>
            <a:ext cx="10797389" cy="95958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437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- und 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7"/>
            <a:ext cx="12192000" cy="685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1662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Titel-Ba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074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3"/>
            <a:ext cx="12192000" cy="6857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9056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1409" y="669927"/>
            <a:ext cx="7287129" cy="1697223"/>
          </a:xfrm>
        </p:spPr>
        <p:txBody>
          <a:bodyPr/>
          <a:lstStyle>
            <a:lvl1pPr>
              <a:lnSpc>
                <a:spcPct val="80000"/>
              </a:lnSpc>
              <a:defRPr sz="7200" cap="all" baseline="0"/>
            </a:lvl1pPr>
          </a:lstStyle>
          <a:p>
            <a:r>
              <a:rPr lang="de-DE" noProof="0"/>
              <a:t>Titelmaster</a:t>
            </a:r>
            <a:br>
              <a:rPr lang="de-DE" noProof="0"/>
            </a:br>
            <a:r>
              <a:rPr lang="de-DE" noProof="0" err="1"/>
              <a:t>format</a:t>
            </a:r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9" y="2522328"/>
            <a:ext cx="7284770" cy="6759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4800" b="1" cap="all" baseline="0">
                <a:solidFill>
                  <a:schemeClr val="bg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541409" y="3259721"/>
            <a:ext cx="4951867" cy="566364"/>
          </a:xfrm>
        </p:spPr>
        <p:txBody>
          <a:bodyPr/>
          <a:lstStyle>
            <a:lvl1pPr marL="0" indent="0">
              <a:buFontTx/>
              <a:buNone/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3689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0071" y="1512000"/>
            <a:ext cx="5339495" cy="4298400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Inhalt 2"/>
          <p:cNvSpPr>
            <a:spLocks noGrp="1"/>
          </p:cNvSpPr>
          <p:nvPr>
            <p:ph sz="half" idx="2"/>
          </p:nvPr>
        </p:nvSpPr>
        <p:spPr bwMode="gray">
          <a:xfrm>
            <a:off x="6311623" y="1512000"/>
            <a:ext cx="5339495" cy="4298400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80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11BE4B-C480-430B-A19C-EFEBFCFD3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AE07FE8-4394-4301-BC42-94788E6412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B7CF17-C2F0-4AEE-9340-841508C18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A2BF2F-A377-47F7-8466-B0CFA5388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706715-949A-42DC-B128-01810D455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771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7265746" cy="1080000"/>
          </a:xfrm>
        </p:spPr>
        <p:txBody>
          <a:bodyPr/>
          <a:lstStyle/>
          <a:p>
            <a:r>
              <a:rPr lang="de-DE" noProof="0"/>
              <a:t>Titelmaster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72657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"/>
          <p:cNvSpPr>
            <a:spLocks noGrp="1"/>
          </p:cNvSpPr>
          <p:nvPr>
            <p:ph sz="half" idx="1"/>
          </p:nvPr>
        </p:nvSpPr>
        <p:spPr bwMode="gray">
          <a:xfrm>
            <a:off x="540072" y="1512000"/>
            <a:ext cx="6621683" cy="4298400"/>
          </a:xfrm>
        </p:spPr>
        <p:txBody>
          <a:bodyPr rIns="360000"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7805166" y="0"/>
            <a:ext cx="3845952" cy="5799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0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22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 1"/>
          <p:cNvSpPr>
            <a:spLocks noGrp="1"/>
          </p:cNvSpPr>
          <p:nvPr>
            <p:ph sz="half" idx="1"/>
          </p:nvPr>
        </p:nvSpPr>
        <p:spPr bwMode="gray">
          <a:xfrm>
            <a:off x="539821" y="2352818"/>
            <a:ext cx="5107569" cy="202868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Inhalt 2"/>
          <p:cNvSpPr>
            <a:spLocks noGrp="1"/>
          </p:cNvSpPr>
          <p:nvPr>
            <p:ph sz="half" idx="2"/>
          </p:nvPr>
        </p:nvSpPr>
        <p:spPr bwMode="gray">
          <a:xfrm>
            <a:off x="6543549" y="2352818"/>
            <a:ext cx="5107569" cy="202868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539821" y="1512000"/>
            <a:ext cx="5107569" cy="70868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5"/>
          </p:nvPr>
        </p:nvSpPr>
        <p:spPr>
          <a:xfrm>
            <a:off x="6543549" y="1512000"/>
            <a:ext cx="5107569" cy="70868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5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8" name="Gerade Verbindung 17"/>
          <p:cNvCxnSpPr/>
          <p:nvPr userDrawn="1"/>
        </p:nvCxnSpPr>
        <p:spPr bwMode="gray">
          <a:xfrm flipV="1">
            <a:off x="6095593" y="1512001"/>
            <a:ext cx="0" cy="4298249"/>
          </a:xfrm>
          <a:prstGeom prst="line">
            <a:avLst/>
          </a:prstGeom>
          <a:ln w="952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Inhalt 1"/>
          <p:cNvSpPr>
            <a:spLocks noGrp="1"/>
          </p:cNvSpPr>
          <p:nvPr>
            <p:ph sz="half" idx="16"/>
          </p:nvPr>
        </p:nvSpPr>
        <p:spPr bwMode="gray">
          <a:xfrm>
            <a:off x="539821" y="4381500"/>
            <a:ext cx="5107569" cy="1404504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Inhalt 2"/>
          <p:cNvSpPr>
            <a:spLocks noGrp="1"/>
          </p:cNvSpPr>
          <p:nvPr>
            <p:ph sz="half" idx="17"/>
          </p:nvPr>
        </p:nvSpPr>
        <p:spPr bwMode="gray">
          <a:xfrm>
            <a:off x="6543549" y="4381500"/>
            <a:ext cx="5107569" cy="1404504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25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5785" y="3971500"/>
            <a:ext cx="5155989" cy="1838901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5"/>
          </p:nvPr>
        </p:nvSpPr>
        <p:spPr>
          <a:xfrm>
            <a:off x="545784" y="1511300"/>
            <a:ext cx="1580668" cy="219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Inhalt 1"/>
          <p:cNvSpPr>
            <a:spLocks noGrp="1"/>
          </p:cNvSpPr>
          <p:nvPr>
            <p:ph sz="half" idx="17"/>
          </p:nvPr>
        </p:nvSpPr>
        <p:spPr bwMode="gray">
          <a:xfrm>
            <a:off x="2368759" y="1525649"/>
            <a:ext cx="3333014" cy="217640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9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 userDrawn="1"/>
        </p:nvCxnSpPr>
        <p:spPr bwMode="gray">
          <a:xfrm flipV="1">
            <a:off x="6095593" y="1512001"/>
            <a:ext cx="0" cy="4298249"/>
          </a:xfrm>
          <a:prstGeom prst="line">
            <a:avLst/>
          </a:prstGeom>
          <a:ln w="952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nhalt 1"/>
          <p:cNvSpPr>
            <a:spLocks noGrp="1"/>
          </p:cNvSpPr>
          <p:nvPr>
            <p:ph sz="half" idx="21"/>
          </p:nvPr>
        </p:nvSpPr>
        <p:spPr bwMode="gray">
          <a:xfrm>
            <a:off x="6481271" y="3971500"/>
            <a:ext cx="5155989" cy="1838901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Bildplatzhalter 5"/>
          <p:cNvSpPr>
            <a:spLocks noGrp="1"/>
          </p:cNvSpPr>
          <p:nvPr>
            <p:ph type="pic" sz="quarter" idx="22"/>
          </p:nvPr>
        </p:nvSpPr>
        <p:spPr>
          <a:xfrm>
            <a:off x="6481270" y="1511300"/>
            <a:ext cx="1580668" cy="219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0" name="Inhalt 1"/>
          <p:cNvSpPr>
            <a:spLocks noGrp="1"/>
          </p:cNvSpPr>
          <p:nvPr>
            <p:ph sz="half" idx="23"/>
          </p:nvPr>
        </p:nvSpPr>
        <p:spPr bwMode="gray">
          <a:xfrm>
            <a:off x="8304245" y="1525649"/>
            <a:ext cx="3333014" cy="217640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73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0" name="Bild"/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540071" y="1512000"/>
            <a:ext cx="11108934" cy="236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6" name="Text"/>
          <p:cNvSpPr>
            <a:spLocks noGrp="1"/>
          </p:cNvSpPr>
          <p:nvPr>
            <p:ph type="body" sz="quarter" idx="41"/>
          </p:nvPr>
        </p:nvSpPr>
        <p:spPr bwMode="gray">
          <a:xfrm>
            <a:off x="1265440" y="1512000"/>
            <a:ext cx="5763597" cy="2365200"/>
          </a:xfrm>
          <a:solidFill>
            <a:schemeClr val="accent1">
              <a:alpha val="80000"/>
            </a:schemeClr>
          </a:solidFill>
        </p:spPr>
        <p:txBody>
          <a:bodyPr lIns="540000" tIns="180000" rIns="540000" bIns="180000" anchor="ctr"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" name="Inhalt"/>
          <p:cNvSpPr>
            <a:spLocks noGrp="1"/>
          </p:cNvSpPr>
          <p:nvPr>
            <p:ph idx="1"/>
          </p:nvPr>
        </p:nvSpPr>
        <p:spPr bwMode="gray">
          <a:xfrm>
            <a:off x="540070" y="4233450"/>
            <a:ext cx="11111046" cy="1576800"/>
          </a:xfrm>
        </p:spPr>
        <p:txBody>
          <a:bodyPr/>
          <a:lstStyle/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998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 1"/>
          <p:cNvSpPr>
            <a:spLocks noGrp="1"/>
          </p:cNvSpPr>
          <p:nvPr>
            <p:ph sz="half" idx="21"/>
          </p:nvPr>
        </p:nvSpPr>
        <p:spPr bwMode="gray">
          <a:xfrm>
            <a:off x="6103608" y="3435352"/>
            <a:ext cx="6088393" cy="3435351"/>
          </a:xfrm>
        </p:spPr>
        <p:txBody>
          <a:bodyPr lIns="540000" tIns="540000" rIns="540000" bIns="540000" anchor="ctr"/>
          <a:lstStyle>
            <a:lvl1pPr marL="0" indent="0">
              <a:buNone/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4" name="Inhalt 1"/>
          <p:cNvSpPr>
            <a:spLocks noGrp="1"/>
          </p:cNvSpPr>
          <p:nvPr>
            <p:ph sz="half" idx="2"/>
          </p:nvPr>
        </p:nvSpPr>
        <p:spPr bwMode="gray">
          <a:xfrm>
            <a:off x="1" y="-1"/>
            <a:ext cx="6120797" cy="3435351"/>
          </a:xfrm>
        </p:spPr>
        <p:txBody>
          <a:bodyPr lIns="540000" tIns="540000" rIns="540000" bIns="540000" anchor="ctr"/>
          <a:lstStyle>
            <a:lvl1pPr marL="0" indent="0">
              <a:buNone/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0" name="Bild 2"/>
          <p:cNvSpPr>
            <a:spLocks noGrp="1" noChangeAspect="1"/>
          </p:cNvSpPr>
          <p:nvPr>
            <p:ph type="pic" sz="quarter" idx="18"/>
          </p:nvPr>
        </p:nvSpPr>
        <p:spPr bwMode="gray">
          <a:xfrm>
            <a:off x="1" y="3435351"/>
            <a:ext cx="6120797" cy="3440867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5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Bild 2"/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6103608" y="-1"/>
            <a:ext cx="6088393" cy="3435351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607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8234272" y="1512000"/>
            <a:ext cx="3414732" cy="4298250"/>
          </a:xfrm>
        </p:spPr>
        <p:txBody>
          <a:bodyPr tIns="0"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20" name="Diagrammplatzhalter 18"/>
          <p:cNvSpPr>
            <a:spLocks noGrp="1"/>
          </p:cNvSpPr>
          <p:nvPr>
            <p:ph type="chart" sz="quarter" idx="16"/>
          </p:nvPr>
        </p:nvSpPr>
        <p:spPr>
          <a:xfrm>
            <a:off x="541408" y="1511300"/>
            <a:ext cx="7263758" cy="4298950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21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2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9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0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32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7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8" name="Reflection"/>
          <p:cNvSpPr>
            <a:spLocks/>
          </p:cNvSpPr>
          <p:nvPr userDrawn="1"/>
        </p:nvSpPr>
        <p:spPr bwMode="gray">
          <a:xfrm>
            <a:off x="3127641" y="1715357"/>
            <a:ext cx="3168094" cy="3718776"/>
          </a:xfrm>
          <a:custGeom>
            <a:avLst/>
            <a:gdLst>
              <a:gd name="T0" fmla="*/ 0 w 470"/>
              <a:gd name="T1" fmla="*/ 584 h 584"/>
              <a:gd name="T2" fmla="*/ 0 w 470"/>
              <a:gd name="T3" fmla="*/ 0 h 584"/>
              <a:gd name="T4" fmla="*/ 470 w 470"/>
              <a:gd name="T5" fmla="*/ 0 h 584"/>
              <a:gd name="T6" fmla="*/ 0 w 470"/>
              <a:gd name="T7" fmla="*/ 584 h 584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4562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4562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28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5"/>
              <a:gd name="connsiteX1" fmla="*/ 0 w 14562"/>
              <a:gd name="connsiteY1" fmla="*/ 10005 h 10005"/>
              <a:gd name="connsiteX2" fmla="*/ 28 w 14562"/>
              <a:gd name="connsiteY2" fmla="*/ 0 h 10005"/>
              <a:gd name="connsiteX3" fmla="*/ 14562 w 14562"/>
              <a:gd name="connsiteY3" fmla="*/ 0 h 10005"/>
              <a:gd name="connsiteX4" fmla="*/ 4562 w 14562"/>
              <a:gd name="connsiteY4" fmla="*/ 10000 h 1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2" h="10005">
                <a:moveTo>
                  <a:pt x="4562" y="10000"/>
                </a:moveTo>
                <a:lnTo>
                  <a:pt x="0" y="10005"/>
                </a:lnTo>
                <a:cubicBezTo>
                  <a:pt x="9" y="6723"/>
                  <a:pt x="19" y="3282"/>
                  <a:pt x="28" y="0"/>
                </a:cubicBezTo>
                <a:lnTo>
                  <a:pt x="14562" y="0"/>
                </a:lnTo>
                <a:lnTo>
                  <a:pt x="4562" y="10000"/>
                </a:lnTo>
                <a:close/>
              </a:path>
            </a:pathLst>
          </a:custGeom>
          <a:solidFill>
            <a:srgbClr val="FFFFFF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1000"/>
              </a:spcAft>
            </a:pPr>
            <a:endParaRPr lang="de-DE" sz="2400"/>
          </a:p>
        </p:txBody>
      </p:sp>
      <p:grpSp>
        <p:nvGrpSpPr>
          <p:cNvPr id="9" name="MacBook"/>
          <p:cNvGrpSpPr/>
          <p:nvPr userDrawn="1"/>
        </p:nvGrpSpPr>
        <p:grpSpPr bwMode="gray">
          <a:xfrm>
            <a:off x="2104320" y="1512000"/>
            <a:ext cx="7982548" cy="4284000"/>
            <a:chOff x="2070510" y="1519237"/>
            <a:chExt cx="8048580" cy="4320000"/>
          </a:xfrm>
        </p:grpSpPr>
        <p:sp>
          <p:nvSpPr>
            <p:cNvPr id="10" name="Freeform"/>
            <p:cNvSpPr>
              <a:spLocks/>
            </p:cNvSpPr>
            <p:nvPr/>
          </p:nvSpPr>
          <p:spPr bwMode="gray">
            <a:xfrm>
              <a:off x="2877296" y="1519237"/>
              <a:ext cx="6435009" cy="4191429"/>
            </a:xfrm>
            <a:custGeom>
              <a:avLst/>
              <a:gdLst>
                <a:gd name="T0" fmla="*/ 424 w 424"/>
                <a:gd name="T1" fmla="*/ 270 h 276"/>
                <a:gd name="T2" fmla="*/ 418 w 424"/>
                <a:gd name="T3" fmla="*/ 276 h 276"/>
                <a:gd name="T4" fmla="*/ 5 w 424"/>
                <a:gd name="T5" fmla="*/ 276 h 276"/>
                <a:gd name="T6" fmla="*/ 0 w 424"/>
                <a:gd name="T7" fmla="*/ 270 h 276"/>
                <a:gd name="T8" fmla="*/ 0 w 424"/>
                <a:gd name="T9" fmla="*/ 6 h 276"/>
                <a:gd name="T10" fmla="*/ 5 w 424"/>
                <a:gd name="T11" fmla="*/ 0 h 276"/>
                <a:gd name="T12" fmla="*/ 418 w 424"/>
                <a:gd name="T13" fmla="*/ 0 h 276"/>
                <a:gd name="T14" fmla="*/ 424 w 424"/>
                <a:gd name="T15" fmla="*/ 6 h 276"/>
                <a:gd name="T16" fmla="*/ 424 w 424"/>
                <a:gd name="T17" fmla="*/ 27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276">
                  <a:moveTo>
                    <a:pt x="424" y="270"/>
                  </a:moveTo>
                  <a:cubicBezTo>
                    <a:pt x="424" y="273"/>
                    <a:pt x="421" y="276"/>
                    <a:pt x="418" y="276"/>
                  </a:cubicBezTo>
                  <a:cubicBezTo>
                    <a:pt x="5" y="276"/>
                    <a:pt x="5" y="276"/>
                    <a:pt x="5" y="276"/>
                  </a:cubicBezTo>
                  <a:cubicBezTo>
                    <a:pt x="2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421" y="0"/>
                    <a:pt x="424" y="3"/>
                    <a:pt x="424" y="6"/>
                  </a:cubicBezTo>
                  <a:lnTo>
                    <a:pt x="424" y="27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1" name="Freeform"/>
            <p:cNvSpPr>
              <a:spLocks noChangeArrowheads="1"/>
            </p:cNvSpPr>
            <p:nvPr/>
          </p:nvSpPr>
          <p:spPr bwMode="gray">
            <a:xfrm>
              <a:off x="3102296" y="1720043"/>
              <a:ext cx="5985008" cy="37542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2" name="Freeform"/>
            <p:cNvSpPr>
              <a:spLocks/>
            </p:cNvSpPr>
            <p:nvPr/>
          </p:nvSpPr>
          <p:spPr bwMode="gray">
            <a:xfrm>
              <a:off x="2070510" y="5633523"/>
              <a:ext cx="8048580" cy="205714"/>
            </a:xfrm>
            <a:custGeom>
              <a:avLst/>
              <a:gdLst>
                <a:gd name="T0" fmla="*/ 0 w 530"/>
                <a:gd name="T1" fmla="*/ 0 h 27"/>
                <a:gd name="T2" fmla="*/ 0 w 530"/>
                <a:gd name="T3" fmla="*/ 11 h 27"/>
                <a:gd name="T4" fmla="*/ 106 w 530"/>
                <a:gd name="T5" fmla="*/ 27 h 27"/>
                <a:gd name="T6" fmla="*/ 424 w 530"/>
                <a:gd name="T7" fmla="*/ 27 h 27"/>
                <a:gd name="T8" fmla="*/ 530 w 530"/>
                <a:gd name="T9" fmla="*/ 11 h 27"/>
                <a:gd name="T10" fmla="*/ 530 w 530"/>
                <a:gd name="T11" fmla="*/ 0 h 27"/>
                <a:gd name="T12" fmla="*/ 0 w 53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7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0"/>
                    <a:pt x="47" y="27"/>
                    <a:pt x="106" y="27"/>
                  </a:cubicBezTo>
                  <a:cubicBezTo>
                    <a:pt x="424" y="27"/>
                    <a:pt x="424" y="27"/>
                    <a:pt x="424" y="27"/>
                  </a:cubicBezTo>
                  <a:cubicBezTo>
                    <a:pt x="482" y="27"/>
                    <a:pt x="530" y="20"/>
                    <a:pt x="530" y="11"/>
                  </a:cubicBezTo>
                  <a:cubicBezTo>
                    <a:pt x="530" y="0"/>
                    <a:pt x="530" y="0"/>
                    <a:pt x="53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CBC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3" name="Freeform"/>
            <p:cNvSpPr/>
            <p:nvPr/>
          </p:nvSpPr>
          <p:spPr bwMode="gray">
            <a:xfrm>
              <a:off x="2070510" y="5624348"/>
              <a:ext cx="8048580" cy="77588"/>
            </a:xfrm>
            <a:prstGeom prst="rect">
              <a:avLst/>
            </a:prstGeom>
            <a:solidFill>
              <a:srgbClr val="CCCCD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</p:grp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3127783" y="1711325"/>
            <a:ext cx="5936436" cy="37226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219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Blauer_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9" name="Untertitel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2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3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1" y="1511300"/>
            <a:ext cx="12192000" cy="42878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68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Inhalt"/>
          <p:cNvSpPr>
            <a:spLocks noGrp="1"/>
          </p:cNvSpPr>
          <p:nvPr>
            <p:ph idx="1"/>
          </p:nvPr>
        </p:nvSpPr>
        <p:spPr bwMode="gray">
          <a:xfrm>
            <a:off x="3526612" y="2461772"/>
            <a:ext cx="8124505" cy="3348628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74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541409" y="3432432"/>
            <a:ext cx="4386957" cy="2377819"/>
          </a:xfrm>
        </p:spPr>
        <p:txBody>
          <a:bodyPr/>
          <a:lstStyle>
            <a:lvl1pPr marL="0" indent="0">
              <a:buFontTx/>
              <a:buNone/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9" y="1929117"/>
            <a:ext cx="4504376" cy="675961"/>
          </a:xfrm>
        </p:spPr>
        <p:txBody>
          <a:bodyPr anchor="ctr"/>
          <a:lstStyle>
            <a:lvl1pPr marL="0" indent="0">
              <a:lnSpc>
                <a:spcPct val="80000"/>
              </a:lnSpc>
              <a:buFontTx/>
              <a:buNone/>
              <a:defRPr sz="3200" b="1" cap="all" baseline="0">
                <a:solidFill>
                  <a:schemeClr val="tx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F34D4A2-C945-405D-A1E9-8CA5EBC1E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54667" y="5541625"/>
            <a:ext cx="2665869" cy="111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01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C0C786-D10F-4AAD-ADCB-C0D1D4EE1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57175-57DE-4A7A-B7E7-D2F046371A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436F6B-6910-4B3D-BC28-C9F4BA6EAE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8845F78-CAAE-497B-AA2C-1B075C6A3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28FB14A-F49F-4EA2-B5EC-D4709E09F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3A6B09B-A16D-4E60-BB76-33C7D05BE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1160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1886196" y="4172187"/>
            <a:ext cx="3042170" cy="1638062"/>
          </a:xfrm>
        </p:spPr>
        <p:txBody>
          <a:bodyPr/>
          <a:lstStyle>
            <a:lvl1pPr marL="0" indent="0">
              <a:buFontTx/>
              <a:buNone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8" y="2673352"/>
            <a:ext cx="11107596" cy="675961"/>
          </a:xfrm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4800" b="1" cap="all" baseline="0">
                <a:solidFill>
                  <a:schemeClr val="tx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F34D4A2-C945-405D-A1E9-8CA5EBC1E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54667" y="5541625"/>
            <a:ext cx="2665869" cy="1113619"/>
          </a:xfrm>
          <a:prstGeom prst="rect">
            <a:avLst/>
          </a:prstGeom>
        </p:spPr>
      </p:pic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>
          <a:xfrm>
            <a:off x="541408" y="4172187"/>
            <a:ext cx="1168552" cy="161925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21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0071" y="1512000"/>
            <a:ext cx="5339495" cy="4298400"/>
          </a:xfrm>
        </p:spPr>
        <p:txBody>
          <a:bodyPr/>
          <a:lstStyle>
            <a:lvl1pPr marL="180957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14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800"/>
            </a:lvl3pPr>
            <a:lvl4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4pPr>
            <a:lvl5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57" marR="0" lvl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masterformat bearbeiten</a:t>
            </a:r>
          </a:p>
          <a:p>
            <a:pPr marL="361914" marR="0" lvl="1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weite Ebene</a:t>
            </a:r>
          </a:p>
          <a:p>
            <a:pPr marL="534935" marR="0" lvl="2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itte Ebene</a:t>
            </a:r>
          </a:p>
          <a:p>
            <a:pPr marL="534935" marR="0" lvl="3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erte Ebene</a:t>
            </a:r>
          </a:p>
          <a:p>
            <a:pPr marL="534935" marR="0" lvl="4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nfte Ebene</a:t>
            </a:r>
          </a:p>
        </p:txBody>
      </p:sp>
      <p:sp>
        <p:nvSpPr>
          <p:cNvPr id="4" name="Inhalt 2"/>
          <p:cNvSpPr>
            <a:spLocks noGrp="1"/>
          </p:cNvSpPr>
          <p:nvPr>
            <p:ph sz="half" idx="2"/>
          </p:nvPr>
        </p:nvSpPr>
        <p:spPr bwMode="gray">
          <a:xfrm>
            <a:off x="6311624" y="1512000"/>
            <a:ext cx="5339495" cy="4298400"/>
          </a:xfrm>
        </p:spPr>
        <p:txBody>
          <a:bodyPr/>
          <a:lstStyle>
            <a:lvl1pPr marL="180957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14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800"/>
            </a:lvl3pPr>
            <a:lvl4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4pPr>
            <a:lvl5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57" marR="0" lvl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masterformat bearbeiten</a:t>
            </a:r>
          </a:p>
          <a:p>
            <a:pPr marL="361914" marR="0" lvl="1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weite Ebene</a:t>
            </a:r>
          </a:p>
          <a:p>
            <a:pPr marL="534935" marR="0" lvl="2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itte Ebene</a:t>
            </a:r>
          </a:p>
          <a:p>
            <a:pPr marL="534935" marR="0" lvl="3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erte Ebene</a:t>
            </a:r>
          </a:p>
          <a:p>
            <a:pPr marL="534935" marR="0" lvl="4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200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425A76-4061-034D-A108-AAA8D609CBE1}"/>
              </a:ext>
            </a:extLst>
          </p:cNvPr>
          <p:cNvSpPr txBox="1"/>
          <p:nvPr userDrawn="1"/>
        </p:nvSpPr>
        <p:spPr>
          <a:xfrm>
            <a:off x="10203311" y="612119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800" err="1"/>
          </a:p>
        </p:txBody>
      </p:sp>
    </p:spTree>
    <p:extLst>
      <p:ext uri="{BB962C8B-B14F-4D97-AF65-F5344CB8AC3E}">
        <p14:creationId xmlns:p14="http://schemas.microsoft.com/office/powerpoint/2010/main" val="1225958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8E8B68-279C-4F09-B68E-EC313CBC2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  <a:prstGeom prst="rect">
            <a:avLst/>
          </a:prstGeom>
        </p:spPr>
        <p:txBody>
          <a:bodyPr lIns="182889" tIns="91445" rIns="182889" bIns="91445" anchor="b"/>
          <a:lstStyle>
            <a:lvl1pPr algn="ctr">
              <a:defRPr sz="5998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CE44740-6039-47DB-ACE6-3EF09A58A7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  <a:prstGeom prst="rect">
            <a:avLst/>
          </a:prstGeom>
        </p:spPr>
        <p:txBody>
          <a:bodyPr lIns="182889" tIns="91445" rIns="182889" bIns="91445"/>
          <a:lstStyle>
            <a:lvl1pPr marL="0" indent="0" algn="ctr">
              <a:buNone/>
              <a:defRPr sz="2400"/>
            </a:lvl1pPr>
            <a:lvl2pPr marL="457086" indent="0" algn="ctr">
              <a:buNone/>
              <a:defRPr sz="20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8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5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97556B3-C4AC-4883-96F9-C6209A26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2" y="6356355"/>
            <a:ext cx="27432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fld id="{655F7878-A6D4-4AE6-AD0D-730D4A12CEA5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D98C1A-A137-4CEE-A1EA-1AD9BDA98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5"/>
            <a:ext cx="41148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2FF891-C689-445A-9914-FAE1A58E8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5"/>
            <a:ext cx="27432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fld id="{3C2630A2-9068-4F67-9F77-854C983529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120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2887" y="0"/>
            <a:ext cx="12194887" cy="6858000"/>
          </a:xfrm>
        </p:spPr>
        <p:txBody>
          <a:bodyPr>
            <a:normAutofit/>
          </a:bodyPr>
          <a:lstStyle>
            <a:lvl1pPr algn="ctr">
              <a:defRPr sz="4000" b="1" i="1">
                <a:latin typeface="Arial"/>
                <a:ea typeface="Helvetica Oblique" charset="0"/>
                <a:cs typeface="Arial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0" y="4483894"/>
            <a:ext cx="12192000" cy="2374106"/>
          </a:xfrm>
        </p:spPr>
        <p:txBody>
          <a:bodyPr/>
          <a:lstStyle>
            <a:lvl1pPr marL="0" algn="r">
              <a:spcBef>
                <a:spcPts val="0"/>
              </a:spcBef>
              <a:defRPr/>
            </a:lvl1pPr>
            <a:lvl2pPr marL="0" algn="r">
              <a:spcBef>
                <a:spcPts val="0"/>
              </a:spcBef>
              <a:defRPr/>
            </a:lvl2pPr>
            <a:lvl3pPr marL="0" algn="r">
              <a:spcBef>
                <a:spcPts val="0"/>
              </a:spcBef>
              <a:defRPr/>
            </a:lvl3pPr>
            <a:lvl4pPr marL="0" algn="r">
              <a:spcBef>
                <a:spcPts val="0"/>
              </a:spcBef>
              <a:defRPr/>
            </a:lvl4pPr>
            <a:lvl5pPr marL="0" algn="r">
              <a:spcBef>
                <a:spcPts val="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50363374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Shape 155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352059" y="263769"/>
            <a:ext cx="11520000" cy="63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32487408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Shape 254"/>
          <p:cNvSpPr>
            <a:spLocks noGrp="1"/>
          </p:cNvSpPr>
          <p:nvPr>
            <p:ph type="body" idx="13"/>
          </p:nvPr>
        </p:nvSpPr>
        <p:spPr>
          <a:xfrm>
            <a:off x="-4788435" y="-434836"/>
            <a:ext cx="7198029" cy="6858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6350">
              <a:spcBef>
                <a:spcPts val="0"/>
              </a:spcBef>
              <a:buSzTx/>
              <a:buNone/>
              <a:defRPr sz="45000" spc="-22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5" name="Shape 255"/>
          <p:cNvSpPr>
            <a:spLocks noGrp="1"/>
          </p:cNvSpPr>
          <p:nvPr>
            <p:ph type="body" idx="14"/>
          </p:nvPr>
        </p:nvSpPr>
        <p:spPr>
          <a:xfrm>
            <a:off x="2650568" y="49054"/>
            <a:ext cx="9017202" cy="5426485"/>
          </a:xfrm>
          <a:prstGeom prst="rect">
            <a:avLst/>
          </a:prstGeom>
        </p:spPr>
        <p:txBody>
          <a:bodyPr lIns="635000" tIns="635000" rIns="635000" bIns="635000" anchor="t">
            <a:noAutofit/>
          </a:bodyPr>
          <a:lstStyle>
            <a:lvl1pPr marL="0" indent="0">
              <a:spcBef>
                <a:spcPts val="0"/>
              </a:spcBef>
              <a:buSzTx/>
              <a:buNone/>
              <a:defRPr sz="75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6" name="Shape 256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88040140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67205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8753AF-0857-2E12-3DF2-D63758953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A3860A-2F86-7E29-7887-F14E5C5F81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182A0A-A7A6-B892-A6C4-1AC58C5E17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1D6EBB-A2AE-E938-011A-B96475AD98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4C2FBF5-3934-A8C2-33FF-65EA465628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770683-863A-DE1D-4416-447C20F39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91EE1-B54C-4BE5-998B-29B2A39063DA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22A61F-B56C-07B5-218E-33C1220C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AE7FA43-5015-2679-40E7-B0E758B1F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3B2D6-098B-4BBD-94BD-E5E8FC0BE45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267B895F-E047-3EBF-AD12-05E04C620C4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867174" y="6471918"/>
            <a:ext cx="3414856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IT-Arbeitsplätze für Cyberport</a:t>
            </a:r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D79C63B-D2CF-3B12-E820-BCC47A61155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392321" y="6235751"/>
            <a:ext cx="257280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defPPr>
              <a:defRPr lang="de-DE"/>
            </a:defPPr>
            <a:lvl1pPr marL="0" algn="ctr" defTabSz="914400" rtl="0" eaLnBrk="1" latinLnBrk="0" hangingPunct="1">
              <a:defRPr sz="15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CEFE82-39F2-4F47-8A0C-D5AB3496FA5C}" type="slidenum">
              <a:rPr lang="de-DE" sz="1500" smtClean="0"/>
              <a:pPr/>
              <a:t>‹Nr.›</a:t>
            </a:fld>
            <a:endParaRPr lang="de-DE" sz="150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7DD368A-1D36-FB92-B3CC-372B5BB3EF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1442" y="6235753"/>
            <a:ext cx="1340588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5962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32352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baseline="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3897600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BE023271-63E3-431C-96C7-14E557329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30139097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80802" y="2822400"/>
            <a:ext cx="5290833" cy="3356429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180000" tIns="0" rIns="180000" bIns="0" anchor="ctr" anchorCtr="0">
            <a:noAutofit/>
          </a:bodyPr>
          <a:lstStyle>
            <a:lvl1pPr marL="359824" indent="-359824" algn="l" defTabSz="1219170" rtl="0" eaLnBrk="1" latinLnBrk="0" hangingPunct="1"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Blip>
                <a:blip r:embed="rId2"/>
              </a:buBlip>
              <a:defRPr lang="en-GB" sz="2133" b="1" kern="100" baseline="0" noProof="0" dirty="0" smtClean="0">
                <a:solidFill>
                  <a:schemeClr val="tx1"/>
                </a:solidFill>
                <a:latin typeface="FuturaTOT" panose="04000500000000000000" pitchFamily="82" charset="0"/>
                <a:ea typeface="+mn-ea"/>
                <a:cs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2pPr>
            <a:lvl3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3pPr>
            <a:lvl4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4pPr>
            <a:lvl5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5pPr>
          </a:lstStyle>
          <a:p>
            <a:pPr lvl="0"/>
            <a:r>
              <a:rPr lang="en-GB" noProof="0"/>
              <a:t>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445343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506865-C019-4D2C-B01A-BCF932DAC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7C43246-B9A1-49DB-8162-5A4A12E507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B42BE7F-CE64-455B-A63D-27FBFA908A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18491E7-AF1B-4856-A838-C6C08B2B7F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EB4A44-8ED7-41CE-8333-1ECFA6EA0E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38667B5-C9A4-4772-B6ED-25D382E19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BA44AA0-50F6-4218-9807-5FD9B062C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418D2F3-13B8-4844-B3FD-F0FFA4559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491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9913302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580802" y="2822400"/>
            <a:ext cx="11022767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>
                <a:latin typeface="FuturaTOT" panose="04000500000000000000" pitchFamily="82" charset="0"/>
              </a:defRPr>
            </a:lvl1pPr>
            <a:lvl2pPr>
              <a:defRPr>
                <a:latin typeface="FuturaTOT" panose="04000500000000000000" pitchFamily="82" charset="0"/>
              </a:defRPr>
            </a:lvl2pPr>
            <a:lvl3pPr>
              <a:defRPr>
                <a:latin typeface="FuturaTOT" panose="04000500000000000000" pitchFamily="82" charset="0"/>
              </a:defRPr>
            </a:lvl3pPr>
            <a:lvl4pPr>
              <a:defRPr>
                <a:latin typeface="FuturaTOT" panose="04000500000000000000" pitchFamily="82" charset="0"/>
              </a:defRPr>
            </a:lvl4pPr>
            <a:lvl5pPr>
              <a:defRPr>
                <a:latin typeface="FuturaTOT" panose="04000500000000000000" pitchFamily="82" charset="0"/>
              </a:defRPr>
            </a:lvl5pPr>
          </a:lstStyle>
          <a:p>
            <a:pPr lvl="0"/>
            <a:r>
              <a:rPr lang="en-GB" noProof="0"/>
              <a:t>Running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0254587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95C7159C-DAC2-4AD1-9D04-54577A3935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1771607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s + Subhea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80800" y="2736000"/>
            <a:ext cx="3360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4430247" y="2736000"/>
            <a:ext cx="336000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8236800" y="2736000"/>
            <a:ext cx="336000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cxnSp>
        <p:nvCxnSpPr>
          <p:cNvPr id="30" name="Gerader Verbinder 27"/>
          <p:cNvCxnSpPr/>
          <p:nvPr userDrawn="1"/>
        </p:nvCxnSpPr>
        <p:spPr>
          <a:xfrm>
            <a:off x="4191069" y="3216001"/>
            <a:ext cx="0" cy="2926423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4"/>
          <p:cNvCxnSpPr/>
          <p:nvPr userDrawn="1"/>
        </p:nvCxnSpPr>
        <p:spPr>
          <a:xfrm>
            <a:off x="8024112" y="3216000"/>
            <a:ext cx="0" cy="292680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2"/>
          <p:cNvSpPr>
            <a:spLocks noGrp="1"/>
          </p:cNvSpPr>
          <p:nvPr>
            <p:ph type="pic" sz="quarter" idx="25"/>
          </p:nvPr>
        </p:nvSpPr>
        <p:spPr>
          <a:xfrm>
            <a:off x="580800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6"/>
          </p:nvPr>
        </p:nvSpPr>
        <p:spPr>
          <a:xfrm>
            <a:off x="4428153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7"/>
          </p:nvPr>
        </p:nvSpPr>
        <p:spPr>
          <a:xfrm>
            <a:off x="8237880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2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1FDAAF7B-6A49-4AEA-BF1E-513AA5416FB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87048" y="4814401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4C76527D-626C-45CD-BE4E-F5B09A1C12C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428153" y="4814399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  <p:sp>
        <p:nvSpPr>
          <p:cNvPr id="25" name="Bildplatzhalter 2">
            <a:extLst>
              <a:ext uri="{FF2B5EF4-FFF2-40B4-BE49-F238E27FC236}">
                <a16:creationId xmlns:a16="http://schemas.microsoft.com/office/drawing/2014/main" id="{0DA3342D-0DE5-463F-9EC7-1353E731C31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236800" y="4814398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7156530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800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lvl="0"/>
            <a:endParaRPr lang="en-GB" noProof="0"/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320001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5046229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ning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6323567" y="2822400"/>
            <a:ext cx="5280000" cy="33552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2" name="Ellipse 1"/>
          <p:cNvSpPr/>
          <p:nvPr userDrawn="1"/>
        </p:nvSpPr>
        <p:spPr>
          <a:xfrm>
            <a:off x="3894163" y="876843"/>
            <a:ext cx="2087539" cy="634672"/>
          </a:xfrm>
          <a:prstGeom prst="ellipse">
            <a:avLst/>
          </a:prstGeom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359824" indent="-719649" algn="ctr">
              <a:spcBef>
                <a:spcPts val="400"/>
              </a:spcBef>
              <a:buSzPct val="100000"/>
              <a:buBlip>
                <a:blip r:embed="rId2"/>
              </a:buBlip>
              <a:tabLst>
                <a:tab pos="364058" algn="l"/>
              </a:tabLst>
            </a:pPr>
            <a:endParaRPr lang="en-GB" sz="2133"/>
          </a:p>
        </p:txBody>
      </p:sp>
      <p:sp>
        <p:nvSpPr>
          <p:cNvPr id="5" name="Ellipse 4"/>
          <p:cNvSpPr/>
          <p:nvPr userDrawn="1"/>
        </p:nvSpPr>
        <p:spPr>
          <a:xfrm>
            <a:off x="2347417" y="235399"/>
            <a:ext cx="1328383" cy="634672"/>
          </a:xfrm>
          <a:prstGeom prst="ellipse">
            <a:avLst/>
          </a:prstGeom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359824" indent="-719649" algn="ctr">
              <a:spcBef>
                <a:spcPts val="400"/>
              </a:spcBef>
              <a:buSzPct val="100000"/>
              <a:buBlip>
                <a:blip r:embed="rId2"/>
              </a:buBlip>
              <a:tabLst>
                <a:tab pos="364058" algn="l"/>
              </a:tabLst>
            </a:pPr>
            <a:endParaRPr lang="en-GB" sz="2133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800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lvl="0"/>
            <a:endParaRPr lang="en-GB" noProof="0"/>
          </a:p>
        </p:txBody>
      </p:sp>
      <p:sp>
        <p:nvSpPr>
          <p:cNvPr id="14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5780380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mall +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580800" y="2822400"/>
            <a:ext cx="5280000" cy="2995325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6323567" y="2822400"/>
            <a:ext cx="5280000" cy="2995325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90551" y="5966400"/>
            <a:ext cx="5280000" cy="35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de-DE" sz="1600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323567" y="5966400"/>
            <a:ext cx="5280000" cy="35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de-DE" sz="1600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</p:txBody>
      </p:sp>
      <p:sp>
        <p:nvSpPr>
          <p:cNvPr id="13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3883331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590552" y="1496700"/>
            <a:ext cx="11013017" cy="4896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8583719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857251"/>
            <a:ext cx="12192000" cy="5143500"/>
          </a:xfrm>
          <a:prstGeom prst="rect">
            <a:avLst/>
          </a:prstGeom>
          <a:pattFill prst="pct10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 algn="ctr">
              <a:defRPr lang="de-DE" sz="1600" b="1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TOT" panose="04000500000000000000" pitchFamily="82" charset="0"/>
                <a:sym typeface="Wingdings" panose="05000000000000000000" pitchFamily="2" charset="2"/>
              </a:defRPr>
            </a:lvl1pPr>
          </a:lstStyle>
          <a:p>
            <a:pPr lvl="0" algn="ctr"/>
            <a:r>
              <a:rPr lang="de-DE"/>
              <a:t>Video (16:9) </a:t>
            </a:r>
            <a:r>
              <a:rPr lang="en-GB" noProof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21859419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 mit Head- &amp;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316171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75EBE-6F86-4EA5-A5CC-EAF2E6E18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5AABC37-8AA8-4994-8C77-2D8BAD5CD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A46C99-20C3-4B99-A100-9C08E1CD7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13D56F-0D67-4512-959A-6C0BDA1A0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4455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12191998" cy="5072938"/>
          </a:xfrm>
        </p:spPr>
        <p:txBody>
          <a:bodyPr>
            <a:normAutofit/>
          </a:bodyPr>
          <a:lstStyle>
            <a:lvl1pPr marL="288000" indent="-288000">
              <a:lnSpc>
                <a:spcPct val="100000"/>
              </a:lnSpc>
              <a:defRPr sz="2400"/>
            </a:lvl1pPr>
            <a:lvl2pPr marL="576000" indent="-288000">
              <a:lnSpc>
                <a:spcPct val="100000"/>
              </a:lnSpc>
              <a:defRPr sz="2000"/>
            </a:lvl2pPr>
            <a:lvl3pPr marL="864000" indent="-288000">
              <a:lnSpc>
                <a:spcPct val="100000"/>
              </a:lnSpc>
              <a:defRPr sz="1800"/>
            </a:lvl3pPr>
            <a:lvl4pPr marL="1152000" indent="-288000">
              <a:lnSpc>
                <a:spcPct val="100000"/>
              </a:lnSpc>
              <a:defRPr sz="1600"/>
            </a:lvl4pPr>
            <a:lvl5pPr marL="1440000" indent="-288000">
              <a:lnSpc>
                <a:spcPct val="100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512959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12191998" cy="50729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18334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5962389" cy="50729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3AC9A96D-A51D-4B1C-9186-3F8F043C2E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9609" y="1200861"/>
            <a:ext cx="5962389" cy="5072938"/>
          </a:xfrm>
        </p:spPr>
        <p:txBody>
          <a:bodyPr lIns="90000" rIns="252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516422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1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00861"/>
            <a:ext cx="12192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B534A6B1-790F-4323-BA3F-BD2A3C26A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82CEFF80-AE85-4E69-BE2B-15890F1BAC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4115567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2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4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518CCE38-9B4E-4254-AF5F-26DC1A0080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86500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040948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pl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4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746F7E-C3F1-4038-A8EE-C6E858FB78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6502" y="1200861"/>
            <a:ext cx="5641973" cy="507293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Ebene</a:t>
            </a:r>
          </a:p>
        </p:txBody>
      </p:sp>
    </p:spTree>
    <p:extLst>
      <p:ext uri="{BB962C8B-B14F-4D97-AF65-F5344CB8AC3E}">
        <p14:creationId xmlns:p14="http://schemas.microsoft.com/office/powerpoint/2010/main" val="27363588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3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5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FEEBD769-0E50-4A87-AFC4-2980E01E85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00384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518CCE38-9B4E-4254-AF5F-26DC1A0080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28475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1723727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8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27" name="Bildplatzhalter 2">
            <a:extLst>
              <a:ext uri="{FF2B5EF4-FFF2-40B4-BE49-F238E27FC236}">
                <a16:creationId xmlns:a16="http://schemas.microsoft.com/office/drawing/2014/main" id="{561964D5-02A3-4260-ADFF-F08158A75A5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5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28" name="Bildplatzhalter 2">
            <a:extLst>
              <a:ext uri="{FF2B5EF4-FFF2-40B4-BE49-F238E27FC236}">
                <a16:creationId xmlns:a16="http://schemas.microsoft.com/office/drawing/2014/main" id="{8C39CBD2-D136-415F-BE31-42D1DF6ABB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3342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29" name="Bildplatzhalter 2">
            <a:extLst>
              <a:ext uri="{FF2B5EF4-FFF2-40B4-BE49-F238E27FC236}">
                <a16:creationId xmlns:a16="http://schemas.microsoft.com/office/drawing/2014/main" id="{9F62CECB-09B6-449E-92F4-4E46C657162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41092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0" name="Bildplatzhalter 2">
            <a:extLst>
              <a:ext uri="{FF2B5EF4-FFF2-40B4-BE49-F238E27FC236}">
                <a16:creationId xmlns:a16="http://schemas.microsoft.com/office/drawing/2014/main" id="{EFC418EE-69A9-4968-A0D0-5E7A7F684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28853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1" name="Bildplatzhalter 2">
            <a:extLst>
              <a:ext uri="{FF2B5EF4-FFF2-40B4-BE49-F238E27FC236}">
                <a16:creationId xmlns:a16="http://schemas.microsoft.com/office/drawing/2014/main" id="{5648D6C7-C763-4407-9CB9-879F19546AC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3525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2" name="Bildplatzhalter 2">
            <a:extLst>
              <a:ext uri="{FF2B5EF4-FFF2-40B4-BE49-F238E27FC236}">
                <a16:creationId xmlns:a16="http://schemas.microsoft.com/office/drawing/2014/main" id="{BD742A1B-1E51-4031-9947-B101AB4EB10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53342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3" name="Bildplatzhalter 2">
            <a:extLst>
              <a:ext uri="{FF2B5EF4-FFF2-40B4-BE49-F238E27FC236}">
                <a16:creationId xmlns:a16="http://schemas.microsoft.com/office/drawing/2014/main" id="{CF62DC1F-AA4A-47BA-B2D5-44F76436C0C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41092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4" name="Bildplatzhalter 2">
            <a:extLst>
              <a:ext uri="{FF2B5EF4-FFF2-40B4-BE49-F238E27FC236}">
                <a16:creationId xmlns:a16="http://schemas.microsoft.com/office/drawing/2014/main" id="{2A6F7B8F-30F3-4141-9713-A930D9071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28853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</p:spTree>
    <p:extLst>
      <p:ext uri="{BB962C8B-B14F-4D97-AF65-F5344CB8AC3E}">
        <p14:creationId xmlns:p14="http://schemas.microsoft.com/office/powerpoint/2010/main" val="10715851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D9B087A-5DE5-41DB-A493-A86A55ED9D1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2B88F5-96FF-40C2-8773-F682565F475A}"/>
              </a:ext>
            </a:extLst>
          </p:cNvPr>
          <p:cNvCxnSpPr/>
          <p:nvPr userDrawn="1"/>
        </p:nvCxnSpPr>
        <p:spPr>
          <a:xfrm>
            <a:off x="3409950" y="3286957"/>
            <a:ext cx="5400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82A41964-0615-4E06-B3BF-B98BECB67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15784"/>
            <a:ext cx="12192000" cy="471173"/>
          </a:xfrm>
        </p:spPr>
        <p:txBody>
          <a:bodyPr lIns="252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eine einleitende Erläuterung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FBC5A45-22A9-448C-B094-6D970DEA8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25205"/>
            <a:ext cx="12192000" cy="849590"/>
          </a:xfrm>
        </p:spPr>
        <p:txBody>
          <a:bodyPr lIns="25200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5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er Titel des Kapitels</a:t>
            </a:r>
          </a:p>
        </p:txBody>
      </p:sp>
    </p:spTree>
    <p:extLst>
      <p:ext uri="{BB962C8B-B14F-4D97-AF65-F5344CB8AC3E}">
        <p14:creationId xmlns:p14="http://schemas.microsoft.com/office/powerpoint/2010/main" val="14055693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neg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D9B087A-5DE5-41DB-A493-A86A55ED9D1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2B88F5-96FF-40C2-8773-F682565F475A}"/>
              </a:ext>
            </a:extLst>
          </p:cNvPr>
          <p:cNvCxnSpPr/>
          <p:nvPr userDrawn="1"/>
        </p:nvCxnSpPr>
        <p:spPr>
          <a:xfrm>
            <a:off x="3409950" y="3286957"/>
            <a:ext cx="5400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82A41964-0615-4E06-B3BF-B98BECB67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15784"/>
            <a:ext cx="12192000" cy="471173"/>
          </a:xfrm>
        </p:spPr>
        <p:txBody>
          <a:bodyPr lIns="252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eine einleitende Erläuterung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FBC5A45-22A9-448C-B094-6D970DEA8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25205"/>
            <a:ext cx="12192000" cy="849590"/>
          </a:xfrm>
        </p:spPr>
        <p:txBody>
          <a:bodyPr lIns="25200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5400" b="1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er Titel des Kapitels</a:t>
            </a:r>
          </a:p>
        </p:txBody>
      </p:sp>
    </p:spTree>
    <p:extLst>
      <p:ext uri="{BB962C8B-B14F-4D97-AF65-F5344CB8AC3E}">
        <p14:creationId xmlns:p14="http://schemas.microsoft.com/office/powerpoint/2010/main" val="1943632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0087363-7825-415C-8976-C62AB3CA3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484922-E57A-4138-AA36-7DB47D67B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7460D9-6D07-4632-AFBA-0A8B26CD7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07119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CD70E2-B959-4597-B4D7-EDFF1D68A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341EC1-80E2-4985-A606-411F05369A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F6112EA-DC14-4E8D-B6B9-2334494122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0B9C471-4AE9-4E54-848E-C7F007B47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B2FE1C9-364C-4598-BDA3-DC6B5EF3E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E5D8F92-B6C5-4460-A72C-0996DB2D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7015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8C40A-B92D-4CCE-90CA-AA481699D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CE7939E-939B-448F-989B-6B98E62CB6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06B5849-C20F-4A6C-9A30-4021B557FE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8F81B0-1C87-4BCF-B842-B3E7B18B8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55E355-CEC3-4D64-9382-31B2293FC6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91045C-E498-4A02-A178-5F7B8B101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039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1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10.emf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17" Type="http://schemas.openxmlformats.org/officeDocument/2006/relationships/image" Target="../media/image16.gif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15.emf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5DEC694-5E8C-4B55-9698-564AC497F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5589F0-0C4F-4FD7-A9B0-5CD54DCD28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5AF092D-DE75-46D3-B0F9-77E0D1F856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16FA3F-E013-4218-BE4E-32578F7AB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3717E00-89FE-46C5-AC11-D477B64083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5954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E7E305-5BA6-EAF5-BA50-F4EBDF01D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5ED4A4-9C77-7C35-97C1-06EE451835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7270AD-456C-2A58-6F8E-2C11B3D42A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1BCED8-14D8-5895-FB82-76E1DB5D5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3A4E721-7012-82F1-53CA-69896CF7CF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607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4165A68-7D4C-C9F9-BB3E-CFC5A12931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7244735"/>
              </p:ext>
            </p:ext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47" imgH="348" progId="TCLayout.ActiveDocument.1">
                  <p:embed/>
                </p:oleObj>
              </mc:Choice>
              <mc:Fallback>
                <p:oleObj name="think-cell Folie" r:id="rId8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165A68-7D4C-C9F9-BB3E-CFC5A1293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3FD04EF4-3C17-9E43-8EFE-0506239C3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959581"/>
          </a:xfrm>
          <a:prstGeom prst="rect">
            <a:avLst/>
          </a:prstGeom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960769" y="0"/>
            <a:ext cx="10797389" cy="959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960321" y="1508719"/>
            <a:ext cx="10797837" cy="4701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Erste Textebene</a:t>
            </a:r>
          </a:p>
          <a:p>
            <a:pPr lvl="1"/>
            <a:r>
              <a:rPr lang="de-DE"/>
              <a:t>Zweite Textebene</a:t>
            </a:r>
          </a:p>
          <a:p>
            <a:pPr lvl="2"/>
            <a:r>
              <a:rPr lang="de-DE"/>
              <a:t>Dritte Textebene</a:t>
            </a:r>
          </a:p>
          <a:p>
            <a:pPr lvl="3"/>
            <a:r>
              <a:rPr lang="de-DE"/>
              <a:t>Subheadline</a:t>
            </a:r>
          </a:p>
          <a:p>
            <a:pPr lvl="4"/>
            <a:r>
              <a:rPr lang="de-DE"/>
              <a:t>Fließ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21" name="Picture 8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65" y="6599595"/>
            <a:ext cx="1323257" cy="175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 descr="C:\Users\Anna\Desktop\WCI_EDEKA-Werbung_3D-EDEKA-Logo_Breite-200mm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75" y="98666"/>
            <a:ext cx="644259" cy="766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Gerade Verbindung 8"/>
          <p:cNvCxnSpPr/>
          <p:nvPr/>
        </p:nvCxnSpPr>
        <p:spPr bwMode="gray">
          <a:xfrm flipH="1">
            <a:off x="0" y="6506742"/>
            <a:ext cx="12192000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8260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hf hdr="0" dt="0"/>
  <p:txStyles>
    <p:titleStyle>
      <a:lvl1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9" b="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2pPr>
      <a:lvl3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3pPr>
      <a:lvl4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4pPr>
      <a:lvl5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5pPr>
      <a:lvl6pPr marL="609402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6pPr>
      <a:lvl7pPr marL="1218804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7pPr>
      <a:lvl8pPr marL="1828206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8pPr>
      <a:lvl9pPr marL="2437608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9pPr>
    </p:titleStyle>
    <p:bodyStyle>
      <a:lvl1pPr marL="355484" indent="-355484" algn="l" defTabSz="609402" rtl="0" eaLnBrk="1" fontAlgn="base" hangingPunct="1">
        <a:spcBef>
          <a:spcPts val="1066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399" b="0" baseline="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721549" indent="-366065" algn="l" defTabSz="609402" rtl="0" eaLnBrk="1" fontAlgn="base" hangingPunct="1">
        <a:spcBef>
          <a:spcPts val="533"/>
        </a:spcBef>
        <a:spcAft>
          <a:spcPts val="0"/>
        </a:spcAft>
        <a:buClr>
          <a:schemeClr val="accent2"/>
        </a:buClr>
        <a:buSzPct val="100000"/>
        <a:buFont typeface="Wingdings" pitchFamily="2" charset="2"/>
        <a:buChar char="§"/>
        <a:defRPr sz="2399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2pPr>
      <a:lvl3pPr marL="1077034" indent="-355484" algn="l" defTabSz="609402" rtl="0" eaLnBrk="1" fontAlgn="base" hangingPunct="1">
        <a:spcBef>
          <a:spcPts val="533"/>
        </a:spcBef>
        <a:spcAft>
          <a:spcPts val="0"/>
        </a:spcAft>
        <a:buClr>
          <a:schemeClr val="accent3"/>
        </a:buClr>
        <a:buSzPct val="100000"/>
        <a:buFont typeface="Wingdings" pitchFamily="2" charset="2"/>
        <a:buChar char="§"/>
        <a:tabLst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3pPr>
      <a:lvl4pPr marL="0" indent="0" algn="l" defTabSz="609402" rtl="0" eaLnBrk="1" fontAlgn="base" hangingPunct="1">
        <a:spcBef>
          <a:spcPts val="1599"/>
        </a:spcBef>
        <a:spcAft>
          <a:spcPts val="0"/>
        </a:spcAft>
        <a:buClr>
          <a:srgbClr val="969696"/>
        </a:buClr>
        <a:buFont typeface="Wingdings" pitchFamily="2" charset="2"/>
        <a:buNone/>
        <a:defRPr sz="2399" b="1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4pPr>
      <a:lvl5pPr marL="0" indent="0" algn="l" defTabSz="609402" rtl="0" eaLnBrk="1" fontAlgn="base" hangingPunct="1">
        <a:spcBef>
          <a:spcPts val="1066"/>
        </a:spcBef>
        <a:spcAft>
          <a:spcPts val="0"/>
        </a:spcAft>
        <a:buClr>
          <a:srgbClr val="969696"/>
        </a:buClr>
        <a:buFont typeface="Wingdings" pitchFamily="2" charset="2"/>
        <a:buNone/>
        <a:defRPr sz="2399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5pPr>
      <a:lvl6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6pPr>
      <a:lvl7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7pPr>
      <a:lvl8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8pPr>
      <a:lvl9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9pPr>
    </p:bodyStyle>
    <p:otherStyle>
      <a:defPPr>
        <a:defRPr lang="de-DE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6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8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09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1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45EC8D0-D669-A14D-97B6-14C10B5FF3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3705280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45EC8D0-D669-A14D-97B6-14C10B5FF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2C4EAE-2604-824B-9690-07FBAF62A69D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de-DE" sz="3200" b="1" i="0" baseline="0" err="1">
              <a:latin typeface="Open Sans" panose="020B0606030504020204" pitchFamily="34" charset="0"/>
              <a:ea typeface="+mj-ea"/>
              <a:sym typeface="Open Sans" panose="020B0606030504020204" pitchFamily="34" charset="0"/>
            </a:endParaRP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70" y="1512000"/>
            <a:ext cx="11111046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6" name="Hilfslinien"/>
          <p:cNvGrpSpPr/>
          <p:nvPr/>
        </p:nvGrpSpPr>
        <p:grpSpPr>
          <a:xfrm>
            <a:off x="-737348" y="-737252"/>
            <a:ext cx="12388466" cy="7087652"/>
            <a:chOff x="-737252" y="-737252"/>
            <a:chExt cx="12386853" cy="7087652"/>
          </a:xfrm>
        </p:grpSpPr>
        <p:grpSp>
          <p:nvGrpSpPr>
            <p:cNvPr id="11" name="Hilfslinie"/>
            <p:cNvGrpSpPr/>
            <p:nvPr userDrawn="1"/>
          </p:nvGrpSpPr>
          <p:grpSpPr bwMode="gray">
            <a:xfrm>
              <a:off x="540001" y="-737252"/>
              <a:ext cx="900000" cy="720000"/>
              <a:chOff x="540001" y="-737252"/>
              <a:chExt cx="900000" cy="720000"/>
            </a:xfrm>
          </p:grpSpPr>
          <p:cxnSp>
            <p:nvCxnSpPr>
              <p:cNvPr id="24" name="Line"/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/>
              <p:cNvSpPr txBox="1"/>
              <p:nvPr userDrawn="1"/>
            </p:nvSpPr>
            <p:spPr bwMode="gray">
              <a:xfrm>
                <a:off x="5400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15,42</a:t>
                </a:r>
              </a:p>
            </p:txBody>
          </p:sp>
        </p:grpSp>
        <p:grpSp>
          <p:nvGrpSpPr>
            <p:cNvPr id="12" name="Hilfslinie"/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2" name="Line"/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/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 15,42</a:t>
                </a:r>
              </a:p>
            </p:txBody>
          </p:sp>
        </p:grpSp>
        <p:grpSp>
          <p:nvGrpSpPr>
            <p:cNvPr id="13" name="Hilfslinie"/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0" name="Line"/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"/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8,32</a:t>
                </a:r>
              </a:p>
            </p:txBody>
          </p:sp>
        </p:grpSp>
        <p:grpSp>
          <p:nvGrpSpPr>
            <p:cNvPr id="14" name="Hilfslinie"/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18" name="Line"/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"/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5,33</a:t>
                </a:r>
              </a:p>
            </p:txBody>
          </p:sp>
        </p:grpSp>
        <p:grpSp>
          <p:nvGrpSpPr>
            <p:cNvPr id="15" name="Hilfslinie"/>
            <p:cNvGrpSpPr/>
            <p:nvPr userDrawn="1"/>
          </p:nvGrpSpPr>
          <p:grpSpPr bwMode="gray">
            <a:xfrm>
              <a:off x="-737252" y="5810400"/>
              <a:ext cx="737252" cy="540000"/>
              <a:chOff x="-737252" y="5810400"/>
              <a:chExt cx="737252" cy="540000"/>
            </a:xfrm>
          </p:grpSpPr>
          <p:cxnSp>
            <p:nvCxnSpPr>
              <p:cNvPr id="16" name="Line"/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"/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6,61</a:t>
                </a:r>
              </a:p>
            </p:txBody>
          </p:sp>
        </p:grpSp>
      </p:grpSp>
      <p:pic>
        <p:nvPicPr>
          <p:cNvPr id="35" name="Grafik 34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24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580802" y="6502701"/>
            <a:ext cx="3071993" cy="290231"/>
          </a:xfrm>
          <a:prstGeom prst="rect">
            <a:avLst/>
          </a:prstGeom>
          <a:noFill/>
        </p:spPr>
        <p:txBody>
          <a:bodyPr wrap="square" lIns="0" tIns="62400" rIns="120000" bIns="62400" rtlCol="0" anchor="ctr">
            <a:spAutoFit/>
          </a:bodyPr>
          <a:lstStyle/>
          <a:p>
            <a:r>
              <a:rPr lang="en-GB" sz="1067" kern="0" spc="133" noProof="0">
                <a:solidFill>
                  <a:schemeClr val="tx1"/>
                </a:solidFill>
                <a:latin typeface="FuturaTOT" panose="04000500000000000000" pitchFamily="82" charset="0"/>
                <a:cs typeface="Arial"/>
              </a:rPr>
              <a:t>© Hansgrohe SE. All rights reserved.</a:t>
            </a:r>
            <a:endParaRPr lang="en-GB" sz="1067" kern="0" spc="133" baseline="30000" noProof="0">
              <a:solidFill>
                <a:schemeClr val="tx1"/>
              </a:solidFill>
              <a:latin typeface="FuturaTOT" panose="04000500000000000000" pitchFamily="82" charset="0"/>
              <a:cs typeface="Arial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11760000" y="6513601"/>
            <a:ext cx="733907" cy="256545"/>
          </a:xfrm>
          <a:prstGeom prst="rect">
            <a:avLst/>
          </a:prstGeom>
          <a:noFill/>
        </p:spPr>
        <p:txBody>
          <a:bodyPr wrap="square" lIns="120000" rIns="0" rtlCol="0">
            <a:spAutoFit/>
          </a:bodyPr>
          <a:lstStyle>
            <a:defPPr>
              <a:defRPr lang="de-DE"/>
            </a:defPPr>
            <a:lvl1pPr algn="r">
              <a:defRPr sz="700" kern="0" spc="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/>
            <a:fld id="{3BA09349-CC55-854F-93C4-C6432ED25BC9}" type="slidenum">
              <a:rPr lang="en-GB" sz="1067" noProof="0" smtClean="0">
                <a:latin typeface="FuturaTOT" panose="04000500000000000000" pitchFamily="82" charset="0"/>
              </a:rPr>
              <a:pPr lvl="0" algn="l"/>
              <a:t>‹Nr.›</a:t>
            </a:fld>
            <a:endParaRPr lang="en-GB" sz="1067" noProof="0">
              <a:latin typeface="FuturaTOT" panose="04000500000000000000" pitchFamily="82" charset="0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580801" y="741844"/>
            <a:ext cx="11030400" cy="0"/>
          </a:xfrm>
          <a:prstGeom prst="line">
            <a:avLst/>
          </a:prstGeom>
          <a:ln w="3175" cmpd="sng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80800" y="6480000"/>
            <a:ext cx="11030400" cy="0"/>
          </a:xfrm>
          <a:prstGeom prst="line">
            <a:avLst/>
          </a:prstGeom>
          <a:ln w="3175" cmpd="sng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B6F53E0D-6C6B-4D20-9501-B517D0AF4B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8E47A5D9-495C-4CD7-A27B-E24896A7DE6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85" y="307441"/>
            <a:ext cx="1460378" cy="224846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4390048-41E2-4E68-9147-331D3074CA05}"/>
              </a:ext>
            </a:extLst>
          </p:cNvPr>
          <p:cNvGrpSpPr/>
          <p:nvPr userDrawn="1"/>
        </p:nvGrpSpPr>
        <p:grpSpPr>
          <a:xfrm>
            <a:off x="592194" y="318341"/>
            <a:ext cx="849567" cy="203104"/>
            <a:chOff x="371475" y="382588"/>
            <a:chExt cx="1089026" cy="260351"/>
          </a:xfrm>
          <a:solidFill>
            <a:schemeClr val="tx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6933D85-CA6A-4F32-BC2C-21C2892E3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9800" y="384176"/>
              <a:ext cx="266700" cy="258763"/>
            </a:xfrm>
            <a:custGeom>
              <a:avLst/>
              <a:gdLst>
                <a:gd name="T0" fmla="*/ 601 w 1348"/>
                <a:gd name="T1" fmla="*/ 1105 h 1300"/>
                <a:gd name="T2" fmla="*/ 488 w 1348"/>
                <a:gd name="T3" fmla="*/ 1073 h 1300"/>
                <a:gd name="T4" fmla="*/ 388 w 1348"/>
                <a:gd name="T5" fmla="*/ 1018 h 1300"/>
                <a:gd name="T6" fmla="*/ 306 w 1348"/>
                <a:gd name="T7" fmla="*/ 942 h 1300"/>
                <a:gd name="T8" fmla="*/ 244 w 1348"/>
                <a:gd name="T9" fmla="*/ 849 h 1300"/>
                <a:gd name="T10" fmla="*/ 207 w 1348"/>
                <a:gd name="T11" fmla="*/ 742 h 1300"/>
                <a:gd name="T12" fmla="*/ 197 w 1348"/>
                <a:gd name="T13" fmla="*/ 649 h 1300"/>
                <a:gd name="T14" fmla="*/ 212 w 1348"/>
                <a:gd name="T15" fmla="*/ 534 h 1300"/>
                <a:gd name="T16" fmla="*/ 255 w 1348"/>
                <a:gd name="T17" fmla="*/ 431 h 1300"/>
                <a:gd name="T18" fmla="*/ 321 w 1348"/>
                <a:gd name="T19" fmla="*/ 340 h 1300"/>
                <a:gd name="T20" fmla="*/ 407 w 1348"/>
                <a:gd name="T21" fmla="*/ 268 h 1300"/>
                <a:gd name="T22" fmla="*/ 510 w 1348"/>
                <a:gd name="T23" fmla="*/ 217 h 1300"/>
                <a:gd name="T24" fmla="*/ 626 w 1348"/>
                <a:gd name="T25" fmla="*/ 192 h 1300"/>
                <a:gd name="T26" fmla="*/ 723 w 1348"/>
                <a:gd name="T27" fmla="*/ 192 h 1300"/>
                <a:gd name="T28" fmla="*/ 839 w 1348"/>
                <a:gd name="T29" fmla="*/ 217 h 1300"/>
                <a:gd name="T30" fmla="*/ 941 w 1348"/>
                <a:gd name="T31" fmla="*/ 268 h 1300"/>
                <a:gd name="T32" fmla="*/ 1027 w 1348"/>
                <a:gd name="T33" fmla="*/ 340 h 1300"/>
                <a:gd name="T34" fmla="*/ 1094 w 1348"/>
                <a:gd name="T35" fmla="*/ 431 h 1300"/>
                <a:gd name="T36" fmla="*/ 1136 w 1348"/>
                <a:gd name="T37" fmla="*/ 534 h 1300"/>
                <a:gd name="T38" fmla="*/ 1151 w 1348"/>
                <a:gd name="T39" fmla="*/ 649 h 1300"/>
                <a:gd name="T40" fmla="*/ 1142 w 1348"/>
                <a:gd name="T41" fmla="*/ 742 h 1300"/>
                <a:gd name="T42" fmla="*/ 1105 w 1348"/>
                <a:gd name="T43" fmla="*/ 849 h 1300"/>
                <a:gd name="T44" fmla="*/ 1042 w 1348"/>
                <a:gd name="T45" fmla="*/ 942 h 1300"/>
                <a:gd name="T46" fmla="*/ 959 w 1348"/>
                <a:gd name="T47" fmla="*/ 1018 h 1300"/>
                <a:gd name="T48" fmla="*/ 860 w 1348"/>
                <a:gd name="T49" fmla="*/ 1073 h 1300"/>
                <a:gd name="T50" fmla="*/ 746 w 1348"/>
                <a:gd name="T51" fmla="*/ 1105 h 1300"/>
                <a:gd name="T52" fmla="*/ 674 w 1348"/>
                <a:gd name="T53" fmla="*/ 0 h 1300"/>
                <a:gd name="T54" fmla="*/ 506 w 1348"/>
                <a:gd name="T55" fmla="*/ 20 h 1300"/>
                <a:gd name="T56" fmla="*/ 352 w 1348"/>
                <a:gd name="T57" fmla="*/ 78 h 1300"/>
                <a:gd name="T58" fmla="*/ 221 w 1348"/>
                <a:gd name="T59" fmla="*/ 168 h 1300"/>
                <a:gd name="T60" fmla="*/ 115 w 1348"/>
                <a:gd name="T61" fmla="*/ 286 h 1300"/>
                <a:gd name="T62" fmla="*/ 41 w 1348"/>
                <a:gd name="T63" fmla="*/ 425 h 1300"/>
                <a:gd name="T64" fmla="*/ 3 w 1348"/>
                <a:gd name="T65" fmla="*/ 583 h 1300"/>
                <a:gd name="T66" fmla="*/ 3 w 1348"/>
                <a:gd name="T67" fmla="*/ 716 h 1300"/>
                <a:gd name="T68" fmla="*/ 41 w 1348"/>
                <a:gd name="T69" fmla="*/ 873 h 1300"/>
                <a:gd name="T70" fmla="*/ 115 w 1348"/>
                <a:gd name="T71" fmla="*/ 1013 h 1300"/>
                <a:gd name="T72" fmla="*/ 221 w 1348"/>
                <a:gd name="T73" fmla="*/ 1131 h 1300"/>
                <a:gd name="T74" fmla="*/ 352 w 1348"/>
                <a:gd name="T75" fmla="*/ 1221 h 1300"/>
                <a:gd name="T76" fmla="*/ 506 w 1348"/>
                <a:gd name="T77" fmla="*/ 1279 h 1300"/>
                <a:gd name="T78" fmla="*/ 674 w 1348"/>
                <a:gd name="T79" fmla="*/ 1300 h 1300"/>
                <a:gd name="T80" fmla="*/ 810 w 1348"/>
                <a:gd name="T81" fmla="*/ 1286 h 1300"/>
                <a:gd name="T82" fmla="*/ 967 w 1348"/>
                <a:gd name="T83" fmla="*/ 1236 h 1300"/>
                <a:gd name="T84" fmla="*/ 1103 w 1348"/>
                <a:gd name="T85" fmla="*/ 1151 h 1300"/>
                <a:gd name="T86" fmla="*/ 1215 w 1348"/>
                <a:gd name="T87" fmla="*/ 1039 h 1300"/>
                <a:gd name="T88" fmla="*/ 1295 w 1348"/>
                <a:gd name="T89" fmla="*/ 903 h 1300"/>
                <a:gd name="T90" fmla="*/ 1341 w 1348"/>
                <a:gd name="T91" fmla="*/ 749 h 1300"/>
                <a:gd name="T92" fmla="*/ 1348 w 1348"/>
                <a:gd name="T93" fmla="*/ 615 h 1300"/>
                <a:gd name="T94" fmla="*/ 1319 w 1348"/>
                <a:gd name="T95" fmla="*/ 456 h 1300"/>
                <a:gd name="T96" fmla="*/ 1251 w 1348"/>
                <a:gd name="T97" fmla="*/ 312 h 1300"/>
                <a:gd name="T98" fmla="*/ 1151 w 1348"/>
                <a:gd name="T99" fmla="*/ 190 h 1300"/>
                <a:gd name="T100" fmla="*/ 1024 w 1348"/>
                <a:gd name="T101" fmla="*/ 94 h 1300"/>
                <a:gd name="T102" fmla="*/ 875 w 1348"/>
                <a:gd name="T103" fmla="*/ 28 h 1300"/>
                <a:gd name="T104" fmla="*/ 708 w 1348"/>
                <a:gd name="T105" fmla="*/ 0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8" h="1300">
                  <a:moveTo>
                    <a:pt x="674" y="1110"/>
                  </a:moveTo>
                  <a:lnTo>
                    <a:pt x="674" y="1110"/>
                  </a:lnTo>
                  <a:lnTo>
                    <a:pt x="650" y="1109"/>
                  </a:lnTo>
                  <a:lnTo>
                    <a:pt x="626" y="1107"/>
                  </a:lnTo>
                  <a:lnTo>
                    <a:pt x="601" y="1105"/>
                  </a:lnTo>
                  <a:lnTo>
                    <a:pt x="578" y="1100"/>
                  </a:lnTo>
                  <a:lnTo>
                    <a:pt x="555" y="1095"/>
                  </a:lnTo>
                  <a:lnTo>
                    <a:pt x="532" y="1089"/>
                  </a:lnTo>
                  <a:lnTo>
                    <a:pt x="510" y="1081"/>
                  </a:lnTo>
                  <a:lnTo>
                    <a:pt x="488" y="1073"/>
                  </a:lnTo>
                  <a:lnTo>
                    <a:pt x="467" y="1064"/>
                  </a:lnTo>
                  <a:lnTo>
                    <a:pt x="447" y="1054"/>
                  </a:lnTo>
                  <a:lnTo>
                    <a:pt x="427" y="1043"/>
                  </a:lnTo>
                  <a:lnTo>
                    <a:pt x="407" y="1031"/>
                  </a:lnTo>
                  <a:lnTo>
                    <a:pt x="388" y="1018"/>
                  </a:lnTo>
                  <a:lnTo>
                    <a:pt x="370" y="1004"/>
                  </a:lnTo>
                  <a:lnTo>
                    <a:pt x="353" y="990"/>
                  </a:lnTo>
                  <a:lnTo>
                    <a:pt x="336" y="975"/>
                  </a:lnTo>
                  <a:lnTo>
                    <a:pt x="321" y="959"/>
                  </a:lnTo>
                  <a:lnTo>
                    <a:pt x="306" y="942"/>
                  </a:lnTo>
                  <a:lnTo>
                    <a:pt x="292" y="925"/>
                  </a:lnTo>
                  <a:lnTo>
                    <a:pt x="278" y="907"/>
                  </a:lnTo>
                  <a:lnTo>
                    <a:pt x="267" y="888"/>
                  </a:lnTo>
                  <a:lnTo>
                    <a:pt x="255" y="869"/>
                  </a:lnTo>
                  <a:lnTo>
                    <a:pt x="244" y="849"/>
                  </a:lnTo>
                  <a:lnTo>
                    <a:pt x="235" y="829"/>
                  </a:lnTo>
                  <a:lnTo>
                    <a:pt x="226" y="808"/>
                  </a:lnTo>
                  <a:lnTo>
                    <a:pt x="219" y="787"/>
                  </a:lnTo>
                  <a:lnTo>
                    <a:pt x="212" y="764"/>
                  </a:lnTo>
                  <a:lnTo>
                    <a:pt x="207" y="742"/>
                  </a:lnTo>
                  <a:lnTo>
                    <a:pt x="203" y="719"/>
                  </a:lnTo>
                  <a:lnTo>
                    <a:pt x="200" y="697"/>
                  </a:lnTo>
                  <a:lnTo>
                    <a:pt x="198" y="674"/>
                  </a:lnTo>
                  <a:lnTo>
                    <a:pt x="197" y="649"/>
                  </a:lnTo>
                  <a:lnTo>
                    <a:pt x="197" y="649"/>
                  </a:lnTo>
                  <a:lnTo>
                    <a:pt x="198" y="626"/>
                  </a:lnTo>
                  <a:lnTo>
                    <a:pt x="200" y="603"/>
                  </a:lnTo>
                  <a:lnTo>
                    <a:pt x="203" y="580"/>
                  </a:lnTo>
                  <a:lnTo>
                    <a:pt x="207" y="556"/>
                  </a:lnTo>
                  <a:lnTo>
                    <a:pt x="212" y="534"/>
                  </a:lnTo>
                  <a:lnTo>
                    <a:pt x="219" y="513"/>
                  </a:lnTo>
                  <a:lnTo>
                    <a:pt x="226" y="491"/>
                  </a:lnTo>
                  <a:lnTo>
                    <a:pt x="235" y="471"/>
                  </a:lnTo>
                  <a:lnTo>
                    <a:pt x="244" y="450"/>
                  </a:lnTo>
                  <a:lnTo>
                    <a:pt x="255" y="431"/>
                  </a:lnTo>
                  <a:lnTo>
                    <a:pt x="267" y="411"/>
                  </a:lnTo>
                  <a:lnTo>
                    <a:pt x="278" y="393"/>
                  </a:lnTo>
                  <a:lnTo>
                    <a:pt x="292" y="375"/>
                  </a:lnTo>
                  <a:lnTo>
                    <a:pt x="306" y="357"/>
                  </a:lnTo>
                  <a:lnTo>
                    <a:pt x="321" y="340"/>
                  </a:lnTo>
                  <a:lnTo>
                    <a:pt x="336" y="324"/>
                  </a:lnTo>
                  <a:lnTo>
                    <a:pt x="353" y="309"/>
                  </a:lnTo>
                  <a:lnTo>
                    <a:pt x="370" y="294"/>
                  </a:lnTo>
                  <a:lnTo>
                    <a:pt x="388" y="281"/>
                  </a:lnTo>
                  <a:lnTo>
                    <a:pt x="407" y="268"/>
                  </a:lnTo>
                  <a:lnTo>
                    <a:pt x="427" y="256"/>
                  </a:lnTo>
                  <a:lnTo>
                    <a:pt x="447" y="245"/>
                  </a:lnTo>
                  <a:lnTo>
                    <a:pt x="467" y="235"/>
                  </a:lnTo>
                  <a:lnTo>
                    <a:pt x="488" y="226"/>
                  </a:lnTo>
                  <a:lnTo>
                    <a:pt x="510" y="217"/>
                  </a:lnTo>
                  <a:lnTo>
                    <a:pt x="532" y="210"/>
                  </a:lnTo>
                  <a:lnTo>
                    <a:pt x="555" y="203"/>
                  </a:lnTo>
                  <a:lnTo>
                    <a:pt x="578" y="198"/>
                  </a:lnTo>
                  <a:lnTo>
                    <a:pt x="601" y="195"/>
                  </a:lnTo>
                  <a:lnTo>
                    <a:pt x="626" y="192"/>
                  </a:lnTo>
                  <a:lnTo>
                    <a:pt x="650" y="190"/>
                  </a:lnTo>
                  <a:lnTo>
                    <a:pt x="674" y="190"/>
                  </a:lnTo>
                  <a:lnTo>
                    <a:pt x="674" y="190"/>
                  </a:lnTo>
                  <a:lnTo>
                    <a:pt x="699" y="190"/>
                  </a:lnTo>
                  <a:lnTo>
                    <a:pt x="723" y="192"/>
                  </a:lnTo>
                  <a:lnTo>
                    <a:pt x="746" y="195"/>
                  </a:lnTo>
                  <a:lnTo>
                    <a:pt x="771" y="198"/>
                  </a:lnTo>
                  <a:lnTo>
                    <a:pt x="793" y="203"/>
                  </a:lnTo>
                  <a:lnTo>
                    <a:pt x="816" y="210"/>
                  </a:lnTo>
                  <a:lnTo>
                    <a:pt x="839" y="217"/>
                  </a:lnTo>
                  <a:lnTo>
                    <a:pt x="860" y="226"/>
                  </a:lnTo>
                  <a:lnTo>
                    <a:pt x="881" y="235"/>
                  </a:lnTo>
                  <a:lnTo>
                    <a:pt x="901" y="245"/>
                  </a:lnTo>
                  <a:lnTo>
                    <a:pt x="921" y="256"/>
                  </a:lnTo>
                  <a:lnTo>
                    <a:pt x="941" y="268"/>
                  </a:lnTo>
                  <a:lnTo>
                    <a:pt x="959" y="281"/>
                  </a:lnTo>
                  <a:lnTo>
                    <a:pt x="977" y="294"/>
                  </a:lnTo>
                  <a:lnTo>
                    <a:pt x="995" y="309"/>
                  </a:lnTo>
                  <a:lnTo>
                    <a:pt x="1011" y="324"/>
                  </a:lnTo>
                  <a:lnTo>
                    <a:pt x="1027" y="340"/>
                  </a:lnTo>
                  <a:lnTo>
                    <a:pt x="1042" y="357"/>
                  </a:lnTo>
                  <a:lnTo>
                    <a:pt x="1057" y="375"/>
                  </a:lnTo>
                  <a:lnTo>
                    <a:pt x="1070" y="393"/>
                  </a:lnTo>
                  <a:lnTo>
                    <a:pt x="1082" y="411"/>
                  </a:lnTo>
                  <a:lnTo>
                    <a:pt x="1094" y="431"/>
                  </a:lnTo>
                  <a:lnTo>
                    <a:pt x="1105" y="450"/>
                  </a:lnTo>
                  <a:lnTo>
                    <a:pt x="1114" y="471"/>
                  </a:lnTo>
                  <a:lnTo>
                    <a:pt x="1123" y="491"/>
                  </a:lnTo>
                  <a:lnTo>
                    <a:pt x="1130" y="513"/>
                  </a:lnTo>
                  <a:lnTo>
                    <a:pt x="1136" y="534"/>
                  </a:lnTo>
                  <a:lnTo>
                    <a:pt x="1142" y="556"/>
                  </a:lnTo>
                  <a:lnTo>
                    <a:pt x="1146" y="580"/>
                  </a:lnTo>
                  <a:lnTo>
                    <a:pt x="1149" y="603"/>
                  </a:lnTo>
                  <a:lnTo>
                    <a:pt x="1151" y="626"/>
                  </a:lnTo>
                  <a:lnTo>
                    <a:pt x="1151" y="649"/>
                  </a:lnTo>
                  <a:lnTo>
                    <a:pt x="1151" y="649"/>
                  </a:lnTo>
                  <a:lnTo>
                    <a:pt x="1151" y="674"/>
                  </a:lnTo>
                  <a:lnTo>
                    <a:pt x="1149" y="697"/>
                  </a:lnTo>
                  <a:lnTo>
                    <a:pt x="1146" y="719"/>
                  </a:lnTo>
                  <a:lnTo>
                    <a:pt x="1142" y="742"/>
                  </a:lnTo>
                  <a:lnTo>
                    <a:pt x="1136" y="764"/>
                  </a:lnTo>
                  <a:lnTo>
                    <a:pt x="1130" y="787"/>
                  </a:lnTo>
                  <a:lnTo>
                    <a:pt x="1123" y="808"/>
                  </a:lnTo>
                  <a:lnTo>
                    <a:pt x="1114" y="829"/>
                  </a:lnTo>
                  <a:lnTo>
                    <a:pt x="1105" y="849"/>
                  </a:lnTo>
                  <a:lnTo>
                    <a:pt x="1094" y="869"/>
                  </a:lnTo>
                  <a:lnTo>
                    <a:pt x="1082" y="888"/>
                  </a:lnTo>
                  <a:lnTo>
                    <a:pt x="1070" y="907"/>
                  </a:lnTo>
                  <a:lnTo>
                    <a:pt x="1057" y="925"/>
                  </a:lnTo>
                  <a:lnTo>
                    <a:pt x="1042" y="942"/>
                  </a:lnTo>
                  <a:lnTo>
                    <a:pt x="1027" y="959"/>
                  </a:lnTo>
                  <a:lnTo>
                    <a:pt x="1011" y="975"/>
                  </a:lnTo>
                  <a:lnTo>
                    <a:pt x="995" y="990"/>
                  </a:lnTo>
                  <a:lnTo>
                    <a:pt x="977" y="1004"/>
                  </a:lnTo>
                  <a:lnTo>
                    <a:pt x="959" y="1018"/>
                  </a:lnTo>
                  <a:lnTo>
                    <a:pt x="941" y="1031"/>
                  </a:lnTo>
                  <a:lnTo>
                    <a:pt x="921" y="1043"/>
                  </a:lnTo>
                  <a:lnTo>
                    <a:pt x="901" y="1054"/>
                  </a:lnTo>
                  <a:lnTo>
                    <a:pt x="881" y="1064"/>
                  </a:lnTo>
                  <a:lnTo>
                    <a:pt x="860" y="1073"/>
                  </a:lnTo>
                  <a:lnTo>
                    <a:pt x="839" y="1081"/>
                  </a:lnTo>
                  <a:lnTo>
                    <a:pt x="816" y="1089"/>
                  </a:lnTo>
                  <a:lnTo>
                    <a:pt x="793" y="1095"/>
                  </a:lnTo>
                  <a:lnTo>
                    <a:pt x="771" y="1100"/>
                  </a:lnTo>
                  <a:lnTo>
                    <a:pt x="746" y="1105"/>
                  </a:lnTo>
                  <a:lnTo>
                    <a:pt x="723" y="1107"/>
                  </a:lnTo>
                  <a:lnTo>
                    <a:pt x="699" y="1109"/>
                  </a:lnTo>
                  <a:lnTo>
                    <a:pt x="674" y="1110"/>
                  </a:lnTo>
                  <a:close/>
                  <a:moveTo>
                    <a:pt x="674" y="0"/>
                  </a:moveTo>
                  <a:lnTo>
                    <a:pt x="674" y="0"/>
                  </a:lnTo>
                  <a:lnTo>
                    <a:pt x="639" y="0"/>
                  </a:lnTo>
                  <a:lnTo>
                    <a:pt x="606" y="3"/>
                  </a:lnTo>
                  <a:lnTo>
                    <a:pt x="572" y="7"/>
                  </a:lnTo>
                  <a:lnTo>
                    <a:pt x="538" y="12"/>
                  </a:lnTo>
                  <a:lnTo>
                    <a:pt x="506" y="20"/>
                  </a:lnTo>
                  <a:lnTo>
                    <a:pt x="473" y="28"/>
                  </a:lnTo>
                  <a:lnTo>
                    <a:pt x="442" y="39"/>
                  </a:lnTo>
                  <a:lnTo>
                    <a:pt x="412" y="50"/>
                  </a:lnTo>
                  <a:lnTo>
                    <a:pt x="382" y="63"/>
                  </a:lnTo>
                  <a:lnTo>
                    <a:pt x="352" y="78"/>
                  </a:lnTo>
                  <a:lnTo>
                    <a:pt x="325" y="94"/>
                  </a:lnTo>
                  <a:lnTo>
                    <a:pt x="297" y="111"/>
                  </a:lnTo>
                  <a:lnTo>
                    <a:pt x="271" y="128"/>
                  </a:lnTo>
                  <a:lnTo>
                    <a:pt x="245" y="148"/>
                  </a:lnTo>
                  <a:lnTo>
                    <a:pt x="221" y="168"/>
                  </a:lnTo>
                  <a:lnTo>
                    <a:pt x="198" y="190"/>
                  </a:lnTo>
                  <a:lnTo>
                    <a:pt x="174" y="212"/>
                  </a:lnTo>
                  <a:lnTo>
                    <a:pt x="153" y="236"/>
                  </a:lnTo>
                  <a:lnTo>
                    <a:pt x="134" y="261"/>
                  </a:lnTo>
                  <a:lnTo>
                    <a:pt x="115" y="286"/>
                  </a:lnTo>
                  <a:lnTo>
                    <a:pt x="97" y="312"/>
                  </a:lnTo>
                  <a:lnTo>
                    <a:pt x="81" y="340"/>
                  </a:lnTo>
                  <a:lnTo>
                    <a:pt x="66" y="367"/>
                  </a:lnTo>
                  <a:lnTo>
                    <a:pt x="53" y="397"/>
                  </a:lnTo>
                  <a:lnTo>
                    <a:pt x="41" y="425"/>
                  </a:lnTo>
                  <a:lnTo>
                    <a:pt x="30" y="456"/>
                  </a:lnTo>
                  <a:lnTo>
                    <a:pt x="21" y="487"/>
                  </a:lnTo>
                  <a:lnTo>
                    <a:pt x="13" y="518"/>
                  </a:lnTo>
                  <a:lnTo>
                    <a:pt x="7" y="550"/>
                  </a:lnTo>
                  <a:lnTo>
                    <a:pt x="3" y="583"/>
                  </a:lnTo>
                  <a:lnTo>
                    <a:pt x="1" y="615"/>
                  </a:lnTo>
                  <a:lnTo>
                    <a:pt x="0" y="649"/>
                  </a:lnTo>
                  <a:lnTo>
                    <a:pt x="0" y="649"/>
                  </a:lnTo>
                  <a:lnTo>
                    <a:pt x="1" y="683"/>
                  </a:lnTo>
                  <a:lnTo>
                    <a:pt x="3" y="716"/>
                  </a:lnTo>
                  <a:lnTo>
                    <a:pt x="7" y="749"/>
                  </a:lnTo>
                  <a:lnTo>
                    <a:pt x="13" y="780"/>
                  </a:lnTo>
                  <a:lnTo>
                    <a:pt x="21" y="812"/>
                  </a:lnTo>
                  <a:lnTo>
                    <a:pt x="30" y="843"/>
                  </a:lnTo>
                  <a:lnTo>
                    <a:pt x="41" y="873"/>
                  </a:lnTo>
                  <a:lnTo>
                    <a:pt x="53" y="903"/>
                  </a:lnTo>
                  <a:lnTo>
                    <a:pt x="66" y="931"/>
                  </a:lnTo>
                  <a:lnTo>
                    <a:pt x="81" y="960"/>
                  </a:lnTo>
                  <a:lnTo>
                    <a:pt x="97" y="986"/>
                  </a:lnTo>
                  <a:lnTo>
                    <a:pt x="115" y="1013"/>
                  </a:lnTo>
                  <a:lnTo>
                    <a:pt x="134" y="1039"/>
                  </a:lnTo>
                  <a:lnTo>
                    <a:pt x="153" y="1063"/>
                  </a:lnTo>
                  <a:lnTo>
                    <a:pt x="174" y="1087"/>
                  </a:lnTo>
                  <a:lnTo>
                    <a:pt x="198" y="1109"/>
                  </a:lnTo>
                  <a:lnTo>
                    <a:pt x="221" y="1131"/>
                  </a:lnTo>
                  <a:lnTo>
                    <a:pt x="245" y="1151"/>
                  </a:lnTo>
                  <a:lnTo>
                    <a:pt x="271" y="1170"/>
                  </a:lnTo>
                  <a:lnTo>
                    <a:pt x="297" y="1189"/>
                  </a:lnTo>
                  <a:lnTo>
                    <a:pt x="325" y="1206"/>
                  </a:lnTo>
                  <a:lnTo>
                    <a:pt x="352" y="1221"/>
                  </a:lnTo>
                  <a:lnTo>
                    <a:pt x="382" y="1236"/>
                  </a:lnTo>
                  <a:lnTo>
                    <a:pt x="412" y="1248"/>
                  </a:lnTo>
                  <a:lnTo>
                    <a:pt x="442" y="1260"/>
                  </a:lnTo>
                  <a:lnTo>
                    <a:pt x="473" y="1270"/>
                  </a:lnTo>
                  <a:lnTo>
                    <a:pt x="506" y="1279"/>
                  </a:lnTo>
                  <a:lnTo>
                    <a:pt x="538" y="1286"/>
                  </a:lnTo>
                  <a:lnTo>
                    <a:pt x="572" y="1293"/>
                  </a:lnTo>
                  <a:lnTo>
                    <a:pt x="606" y="1297"/>
                  </a:lnTo>
                  <a:lnTo>
                    <a:pt x="639" y="1299"/>
                  </a:lnTo>
                  <a:lnTo>
                    <a:pt x="674" y="1300"/>
                  </a:lnTo>
                  <a:lnTo>
                    <a:pt x="674" y="1300"/>
                  </a:lnTo>
                  <a:lnTo>
                    <a:pt x="708" y="1299"/>
                  </a:lnTo>
                  <a:lnTo>
                    <a:pt x="743" y="1297"/>
                  </a:lnTo>
                  <a:lnTo>
                    <a:pt x="777" y="1293"/>
                  </a:lnTo>
                  <a:lnTo>
                    <a:pt x="810" y="1286"/>
                  </a:lnTo>
                  <a:lnTo>
                    <a:pt x="843" y="1279"/>
                  </a:lnTo>
                  <a:lnTo>
                    <a:pt x="875" y="1270"/>
                  </a:lnTo>
                  <a:lnTo>
                    <a:pt x="906" y="1260"/>
                  </a:lnTo>
                  <a:lnTo>
                    <a:pt x="937" y="1248"/>
                  </a:lnTo>
                  <a:lnTo>
                    <a:pt x="967" y="1236"/>
                  </a:lnTo>
                  <a:lnTo>
                    <a:pt x="995" y="1221"/>
                  </a:lnTo>
                  <a:lnTo>
                    <a:pt x="1024" y="1206"/>
                  </a:lnTo>
                  <a:lnTo>
                    <a:pt x="1052" y="1189"/>
                  </a:lnTo>
                  <a:lnTo>
                    <a:pt x="1078" y="1170"/>
                  </a:lnTo>
                  <a:lnTo>
                    <a:pt x="1103" y="1151"/>
                  </a:lnTo>
                  <a:lnTo>
                    <a:pt x="1128" y="1131"/>
                  </a:lnTo>
                  <a:lnTo>
                    <a:pt x="1151" y="1109"/>
                  </a:lnTo>
                  <a:lnTo>
                    <a:pt x="1173" y="1087"/>
                  </a:lnTo>
                  <a:lnTo>
                    <a:pt x="1195" y="1063"/>
                  </a:lnTo>
                  <a:lnTo>
                    <a:pt x="1215" y="1039"/>
                  </a:lnTo>
                  <a:lnTo>
                    <a:pt x="1234" y="1013"/>
                  </a:lnTo>
                  <a:lnTo>
                    <a:pt x="1251" y="986"/>
                  </a:lnTo>
                  <a:lnTo>
                    <a:pt x="1268" y="960"/>
                  </a:lnTo>
                  <a:lnTo>
                    <a:pt x="1283" y="931"/>
                  </a:lnTo>
                  <a:lnTo>
                    <a:pt x="1295" y="903"/>
                  </a:lnTo>
                  <a:lnTo>
                    <a:pt x="1308" y="873"/>
                  </a:lnTo>
                  <a:lnTo>
                    <a:pt x="1319" y="843"/>
                  </a:lnTo>
                  <a:lnTo>
                    <a:pt x="1327" y="812"/>
                  </a:lnTo>
                  <a:lnTo>
                    <a:pt x="1334" y="780"/>
                  </a:lnTo>
                  <a:lnTo>
                    <a:pt x="1341" y="749"/>
                  </a:lnTo>
                  <a:lnTo>
                    <a:pt x="1345" y="716"/>
                  </a:lnTo>
                  <a:lnTo>
                    <a:pt x="1348" y="683"/>
                  </a:lnTo>
                  <a:lnTo>
                    <a:pt x="1348" y="649"/>
                  </a:lnTo>
                  <a:lnTo>
                    <a:pt x="1348" y="649"/>
                  </a:lnTo>
                  <a:lnTo>
                    <a:pt x="1348" y="615"/>
                  </a:lnTo>
                  <a:lnTo>
                    <a:pt x="1345" y="583"/>
                  </a:lnTo>
                  <a:lnTo>
                    <a:pt x="1341" y="550"/>
                  </a:lnTo>
                  <a:lnTo>
                    <a:pt x="1334" y="518"/>
                  </a:lnTo>
                  <a:lnTo>
                    <a:pt x="1327" y="487"/>
                  </a:lnTo>
                  <a:lnTo>
                    <a:pt x="1319" y="456"/>
                  </a:lnTo>
                  <a:lnTo>
                    <a:pt x="1308" y="425"/>
                  </a:lnTo>
                  <a:lnTo>
                    <a:pt x="1295" y="397"/>
                  </a:lnTo>
                  <a:lnTo>
                    <a:pt x="1283" y="367"/>
                  </a:lnTo>
                  <a:lnTo>
                    <a:pt x="1268" y="340"/>
                  </a:lnTo>
                  <a:lnTo>
                    <a:pt x="1251" y="312"/>
                  </a:lnTo>
                  <a:lnTo>
                    <a:pt x="1234" y="286"/>
                  </a:lnTo>
                  <a:lnTo>
                    <a:pt x="1215" y="261"/>
                  </a:lnTo>
                  <a:lnTo>
                    <a:pt x="1195" y="236"/>
                  </a:lnTo>
                  <a:lnTo>
                    <a:pt x="1173" y="212"/>
                  </a:lnTo>
                  <a:lnTo>
                    <a:pt x="1151" y="190"/>
                  </a:lnTo>
                  <a:lnTo>
                    <a:pt x="1128" y="168"/>
                  </a:lnTo>
                  <a:lnTo>
                    <a:pt x="1103" y="148"/>
                  </a:lnTo>
                  <a:lnTo>
                    <a:pt x="1078" y="128"/>
                  </a:lnTo>
                  <a:lnTo>
                    <a:pt x="1052" y="111"/>
                  </a:lnTo>
                  <a:lnTo>
                    <a:pt x="1024" y="94"/>
                  </a:lnTo>
                  <a:lnTo>
                    <a:pt x="995" y="78"/>
                  </a:lnTo>
                  <a:lnTo>
                    <a:pt x="967" y="63"/>
                  </a:lnTo>
                  <a:lnTo>
                    <a:pt x="937" y="50"/>
                  </a:lnTo>
                  <a:lnTo>
                    <a:pt x="906" y="39"/>
                  </a:lnTo>
                  <a:lnTo>
                    <a:pt x="875" y="28"/>
                  </a:lnTo>
                  <a:lnTo>
                    <a:pt x="843" y="20"/>
                  </a:lnTo>
                  <a:lnTo>
                    <a:pt x="810" y="12"/>
                  </a:lnTo>
                  <a:lnTo>
                    <a:pt x="777" y="7"/>
                  </a:lnTo>
                  <a:lnTo>
                    <a:pt x="743" y="3"/>
                  </a:lnTo>
                  <a:lnTo>
                    <a:pt x="708" y="0"/>
                  </a:lnTo>
                  <a:lnTo>
                    <a:pt x="6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C7B87F4-1294-4698-A26F-57421481B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238" y="392113"/>
              <a:ext cx="195263" cy="244475"/>
            </a:xfrm>
            <a:custGeom>
              <a:avLst/>
              <a:gdLst>
                <a:gd name="T0" fmla="*/ 890 w 986"/>
                <a:gd name="T1" fmla="*/ 407 h 1228"/>
                <a:gd name="T2" fmla="*/ 886 w 986"/>
                <a:gd name="T3" fmla="*/ 366 h 1228"/>
                <a:gd name="T4" fmla="*/ 880 w 986"/>
                <a:gd name="T5" fmla="*/ 326 h 1228"/>
                <a:gd name="T6" fmla="*/ 871 w 986"/>
                <a:gd name="T7" fmla="*/ 287 h 1228"/>
                <a:gd name="T8" fmla="*/ 856 w 986"/>
                <a:gd name="T9" fmla="*/ 249 h 1228"/>
                <a:gd name="T10" fmla="*/ 838 w 986"/>
                <a:gd name="T11" fmla="*/ 213 h 1228"/>
                <a:gd name="T12" fmla="*/ 816 w 986"/>
                <a:gd name="T13" fmla="*/ 180 h 1228"/>
                <a:gd name="T14" fmla="*/ 793 w 986"/>
                <a:gd name="T15" fmla="*/ 149 h 1228"/>
                <a:gd name="T16" fmla="*/ 766 w 986"/>
                <a:gd name="T17" fmla="*/ 119 h 1228"/>
                <a:gd name="T18" fmla="*/ 735 w 986"/>
                <a:gd name="T19" fmla="*/ 94 h 1228"/>
                <a:gd name="T20" fmla="*/ 703 w 986"/>
                <a:gd name="T21" fmla="*/ 69 h 1228"/>
                <a:gd name="T22" fmla="*/ 668 w 986"/>
                <a:gd name="T23" fmla="*/ 49 h 1228"/>
                <a:gd name="T24" fmla="*/ 631 w 986"/>
                <a:gd name="T25" fmla="*/ 32 h 1228"/>
                <a:gd name="T26" fmla="*/ 592 w 986"/>
                <a:gd name="T27" fmla="*/ 19 h 1228"/>
                <a:gd name="T28" fmla="*/ 552 w 986"/>
                <a:gd name="T29" fmla="*/ 8 h 1228"/>
                <a:gd name="T30" fmla="*/ 510 w 986"/>
                <a:gd name="T31" fmla="*/ 2 h 1228"/>
                <a:gd name="T32" fmla="*/ 467 w 986"/>
                <a:gd name="T33" fmla="*/ 0 h 1228"/>
                <a:gd name="T34" fmla="*/ 0 w 986"/>
                <a:gd name="T35" fmla="*/ 1228 h 1228"/>
                <a:gd name="T36" fmla="*/ 185 w 986"/>
                <a:gd name="T37" fmla="*/ 806 h 1228"/>
                <a:gd name="T38" fmla="*/ 185 w 986"/>
                <a:gd name="T39" fmla="*/ 525 h 1228"/>
                <a:gd name="T40" fmla="*/ 481 w 986"/>
                <a:gd name="T41" fmla="*/ 186 h 1228"/>
                <a:gd name="T42" fmla="*/ 503 w 986"/>
                <a:gd name="T43" fmla="*/ 187 h 1228"/>
                <a:gd name="T44" fmla="*/ 546 w 986"/>
                <a:gd name="T45" fmla="*/ 195 h 1228"/>
                <a:gd name="T46" fmla="*/ 588 w 986"/>
                <a:gd name="T47" fmla="*/ 212 h 1228"/>
                <a:gd name="T48" fmla="*/ 624 w 986"/>
                <a:gd name="T49" fmla="*/ 235 h 1228"/>
                <a:gd name="T50" fmla="*/ 655 w 986"/>
                <a:gd name="T51" fmla="*/ 265 h 1228"/>
                <a:gd name="T52" fmla="*/ 680 w 986"/>
                <a:gd name="T53" fmla="*/ 300 h 1228"/>
                <a:gd name="T54" fmla="*/ 698 w 986"/>
                <a:gd name="T55" fmla="*/ 340 h 1228"/>
                <a:gd name="T56" fmla="*/ 707 w 986"/>
                <a:gd name="T57" fmla="*/ 383 h 1228"/>
                <a:gd name="T58" fmla="*/ 708 w 986"/>
                <a:gd name="T59" fmla="*/ 405 h 1228"/>
                <a:gd name="T60" fmla="*/ 703 w 986"/>
                <a:gd name="T61" fmla="*/ 451 h 1228"/>
                <a:gd name="T62" fmla="*/ 689 w 986"/>
                <a:gd name="T63" fmla="*/ 493 h 1228"/>
                <a:gd name="T64" fmla="*/ 668 w 986"/>
                <a:gd name="T65" fmla="*/ 530 h 1228"/>
                <a:gd name="T66" fmla="*/ 641 w 986"/>
                <a:gd name="T67" fmla="*/ 563 h 1228"/>
                <a:gd name="T68" fmla="*/ 606 w 986"/>
                <a:gd name="T69" fmla="*/ 590 h 1228"/>
                <a:gd name="T70" fmla="*/ 568 w 986"/>
                <a:gd name="T71" fmla="*/ 610 h 1228"/>
                <a:gd name="T72" fmla="*/ 525 w 986"/>
                <a:gd name="T73" fmla="*/ 623 h 1228"/>
                <a:gd name="T74" fmla="*/ 481 w 986"/>
                <a:gd name="T75" fmla="*/ 628 h 1228"/>
                <a:gd name="T76" fmla="*/ 237 w 986"/>
                <a:gd name="T77" fmla="*/ 628 h 1228"/>
                <a:gd name="T78" fmla="*/ 388 w 986"/>
                <a:gd name="T79" fmla="*/ 806 h 1228"/>
                <a:gd name="T80" fmla="*/ 986 w 986"/>
                <a:gd name="T81" fmla="*/ 1228 h 1228"/>
                <a:gd name="T82" fmla="*/ 613 w 986"/>
                <a:gd name="T83" fmla="*/ 785 h 1228"/>
                <a:gd name="T84" fmla="*/ 671 w 986"/>
                <a:gd name="T85" fmla="*/ 759 h 1228"/>
                <a:gd name="T86" fmla="*/ 724 w 986"/>
                <a:gd name="T87" fmla="*/ 725 h 1228"/>
                <a:gd name="T88" fmla="*/ 771 w 986"/>
                <a:gd name="T89" fmla="*/ 684 h 1228"/>
                <a:gd name="T90" fmla="*/ 811 w 986"/>
                <a:gd name="T91" fmla="*/ 638 h 1228"/>
                <a:gd name="T92" fmla="*/ 844 w 986"/>
                <a:gd name="T93" fmla="*/ 586 h 1228"/>
                <a:gd name="T94" fmla="*/ 868 w 986"/>
                <a:gd name="T95" fmla="*/ 530 h 1228"/>
                <a:gd name="T96" fmla="*/ 881 w 986"/>
                <a:gd name="T97" fmla="*/ 486 h 1228"/>
                <a:gd name="T98" fmla="*/ 886 w 986"/>
                <a:gd name="T99" fmla="*/ 455 h 1228"/>
                <a:gd name="T100" fmla="*/ 889 w 986"/>
                <a:gd name="T101" fmla="*/ 423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86" h="1228">
                  <a:moveTo>
                    <a:pt x="890" y="407"/>
                  </a:moveTo>
                  <a:lnTo>
                    <a:pt x="890" y="407"/>
                  </a:lnTo>
                  <a:lnTo>
                    <a:pt x="889" y="386"/>
                  </a:lnTo>
                  <a:lnTo>
                    <a:pt x="886" y="366"/>
                  </a:lnTo>
                  <a:lnTo>
                    <a:pt x="884" y="346"/>
                  </a:lnTo>
                  <a:lnTo>
                    <a:pt x="880" y="326"/>
                  </a:lnTo>
                  <a:lnTo>
                    <a:pt x="876" y="306"/>
                  </a:lnTo>
                  <a:lnTo>
                    <a:pt x="871" y="287"/>
                  </a:lnTo>
                  <a:lnTo>
                    <a:pt x="863" y="268"/>
                  </a:lnTo>
                  <a:lnTo>
                    <a:pt x="856" y="249"/>
                  </a:lnTo>
                  <a:lnTo>
                    <a:pt x="847" y="231"/>
                  </a:lnTo>
                  <a:lnTo>
                    <a:pt x="838" y="213"/>
                  </a:lnTo>
                  <a:lnTo>
                    <a:pt x="828" y="196"/>
                  </a:lnTo>
                  <a:lnTo>
                    <a:pt x="816" y="180"/>
                  </a:lnTo>
                  <a:lnTo>
                    <a:pt x="805" y="163"/>
                  </a:lnTo>
                  <a:lnTo>
                    <a:pt x="793" y="149"/>
                  </a:lnTo>
                  <a:lnTo>
                    <a:pt x="779" y="134"/>
                  </a:lnTo>
                  <a:lnTo>
                    <a:pt x="766" y="119"/>
                  </a:lnTo>
                  <a:lnTo>
                    <a:pt x="751" y="106"/>
                  </a:lnTo>
                  <a:lnTo>
                    <a:pt x="735" y="94"/>
                  </a:lnTo>
                  <a:lnTo>
                    <a:pt x="719" y="81"/>
                  </a:lnTo>
                  <a:lnTo>
                    <a:pt x="703" y="69"/>
                  </a:lnTo>
                  <a:lnTo>
                    <a:pt x="686" y="59"/>
                  </a:lnTo>
                  <a:lnTo>
                    <a:pt x="668" y="49"/>
                  </a:lnTo>
                  <a:lnTo>
                    <a:pt x="650" y="40"/>
                  </a:lnTo>
                  <a:lnTo>
                    <a:pt x="631" y="32"/>
                  </a:lnTo>
                  <a:lnTo>
                    <a:pt x="612" y="25"/>
                  </a:lnTo>
                  <a:lnTo>
                    <a:pt x="592" y="19"/>
                  </a:lnTo>
                  <a:lnTo>
                    <a:pt x="573" y="13"/>
                  </a:lnTo>
                  <a:lnTo>
                    <a:pt x="552" y="8"/>
                  </a:lnTo>
                  <a:lnTo>
                    <a:pt x="531" y="5"/>
                  </a:lnTo>
                  <a:lnTo>
                    <a:pt x="510" y="2"/>
                  </a:lnTo>
                  <a:lnTo>
                    <a:pt x="488" y="1"/>
                  </a:lnTo>
                  <a:lnTo>
                    <a:pt x="467" y="0"/>
                  </a:lnTo>
                  <a:lnTo>
                    <a:pt x="0" y="0"/>
                  </a:lnTo>
                  <a:lnTo>
                    <a:pt x="0" y="1228"/>
                  </a:lnTo>
                  <a:lnTo>
                    <a:pt x="185" y="1228"/>
                  </a:lnTo>
                  <a:lnTo>
                    <a:pt x="185" y="806"/>
                  </a:lnTo>
                  <a:lnTo>
                    <a:pt x="185" y="627"/>
                  </a:lnTo>
                  <a:lnTo>
                    <a:pt x="185" y="525"/>
                  </a:lnTo>
                  <a:lnTo>
                    <a:pt x="185" y="186"/>
                  </a:lnTo>
                  <a:lnTo>
                    <a:pt x="481" y="186"/>
                  </a:lnTo>
                  <a:lnTo>
                    <a:pt x="481" y="186"/>
                  </a:lnTo>
                  <a:lnTo>
                    <a:pt x="503" y="187"/>
                  </a:lnTo>
                  <a:lnTo>
                    <a:pt x="525" y="190"/>
                  </a:lnTo>
                  <a:lnTo>
                    <a:pt x="546" y="195"/>
                  </a:lnTo>
                  <a:lnTo>
                    <a:pt x="568" y="203"/>
                  </a:lnTo>
                  <a:lnTo>
                    <a:pt x="588" y="212"/>
                  </a:lnTo>
                  <a:lnTo>
                    <a:pt x="607" y="223"/>
                  </a:lnTo>
                  <a:lnTo>
                    <a:pt x="624" y="235"/>
                  </a:lnTo>
                  <a:lnTo>
                    <a:pt x="641" y="249"/>
                  </a:lnTo>
                  <a:lnTo>
                    <a:pt x="655" y="265"/>
                  </a:lnTo>
                  <a:lnTo>
                    <a:pt x="668" y="282"/>
                  </a:lnTo>
                  <a:lnTo>
                    <a:pt x="680" y="300"/>
                  </a:lnTo>
                  <a:lnTo>
                    <a:pt x="689" y="319"/>
                  </a:lnTo>
                  <a:lnTo>
                    <a:pt x="698" y="340"/>
                  </a:lnTo>
                  <a:lnTo>
                    <a:pt x="703" y="361"/>
                  </a:lnTo>
                  <a:lnTo>
                    <a:pt x="707" y="383"/>
                  </a:lnTo>
                  <a:lnTo>
                    <a:pt x="708" y="405"/>
                  </a:lnTo>
                  <a:lnTo>
                    <a:pt x="708" y="405"/>
                  </a:lnTo>
                  <a:lnTo>
                    <a:pt x="707" y="429"/>
                  </a:lnTo>
                  <a:lnTo>
                    <a:pt x="703" y="451"/>
                  </a:lnTo>
                  <a:lnTo>
                    <a:pt x="698" y="472"/>
                  </a:lnTo>
                  <a:lnTo>
                    <a:pt x="689" y="493"/>
                  </a:lnTo>
                  <a:lnTo>
                    <a:pt x="680" y="512"/>
                  </a:lnTo>
                  <a:lnTo>
                    <a:pt x="668" y="530"/>
                  </a:lnTo>
                  <a:lnTo>
                    <a:pt x="655" y="548"/>
                  </a:lnTo>
                  <a:lnTo>
                    <a:pt x="641" y="563"/>
                  </a:lnTo>
                  <a:lnTo>
                    <a:pt x="624" y="578"/>
                  </a:lnTo>
                  <a:lnTo>
                    <a:pt x="606" y="590"/>
                  </a:lnTo>
                  <a:lnTo>
                    <a:pt x="588" y="602"/>
                  </a:lnTo>
                  <a:lnTo>
                    <a:pt x="568" y="610"/>
                  </a:lnTo>
                  <a:lnTo>
                    <a:pt x="546" y="618"/>
                  </a:lnTo>
                  <a:lnTo>
                    <a:pt x="525" y="623"/>
                  </a:lnTo>
                  <a:lnTo>
                    <a:pt x="503" y="627"/>
                  </a:lnTo>
                  <a:lnTo>
                    <a:pt x="481" y="628"/>
                  </a:lnTo>
                  <a:lnTo>
                    <a:pt x="481" y="628"/>
                  </a:lnTo>
                  <a:lnTo>
                    <a:pt x="237" y="628"/>
                  </a:lnTo>
                  <a:lnTo>
                    <a:pt x="387" y="806"/>
                  </a:lnTo>
                  <a:lnTo>
                    <a:pt x="388" y="806"/>
                  </a:lnTo>
                  <a:lnTo>
                    <a:pt x="743" y="1228"/>
                  </a:lnTo>
                  <a:lnTo>
                    <a:pt x="986" y="1228"/>
                  </a:lnTo>
                  <a:lnTo>
                    <a:pt x="613" y="785"/>
                  </a:lnTo>
                  <a:lnTo>
                    <a:pt x="613" y="785"/>
                  </a:lnTo>
                  <a:lnTo>
                    <a:pt x="643" y="773"/>
                  </a:lnTo>
                  <a:lnTo>
                    <a:pt x="671" y="759"/>
                  </a:lnTo>
                  <a:lnTo>
                    <a:pt x="698" y="743"/>
                  </a:lnTo>
                  <a:lnTo>
                    <a:pt x="724" y="725"/>
                  </a:lnTo>
                  <a:lnTo>
                    <a:pt x="749" y="705"/>
                  </a:lnTo>
                  <a:lnTo>
                    <a:pt x="771" y="684"/>
                  </a:lnTo>
                  <a:lnTo>
                    <a:pt x="792" y="662"/>
                  </a:lnTo>
                  <a:lnTo>
                    <a:pt x="811" y="638"/>
                  </a:lnTo>
                  <a:lnTo>
                    <a:pt x="829" y="612"/>
                  </a:lnTo>
                  <a:lnTo>
                    <a:pt x="844" y="586"/>
                  </a:lnTo>
                  <a:lnTo>
                    <a:pt x="858" y="559"/>
                  </a:lnTo>
                  <a:lnTo>
                    <a:pt x="868" y="530"/>
                  </a:lnTo>
                  <a:lnTo>
                    <a:pt x="878" y="500"/>
                  </a:lnTo>
                  <a:lnTo>
                    <a:pt x="881" y="486"/>
                  </a:lnTo>
                  <a:lnTo>
                    <a:pt x="884" y="470"/>
                  </a:lnTo>
                  <a:lnTo>
                    <a:pt x="886" y="455"/>
                  </a:lnTo>
                  <a:lnTo>
                    <a:pt x="887" y="439"/>
                  </a:lnTo>
                  <a:lnTo>
                    <a:pt x="889" y="423"/>
                  </a:lnTo>
                  <a:lnTo>
                    <a:pt x="890" y="4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FE45D46C-23AB-435D-8DC0-EC10E596FC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700" y="387351"/>
              <a:ext cx="125413" cy="123825"/>
            </a:xfrm>
            <a:custGeom>
              <a:avLst/>
              <a:gdLst>
                <a:gd name="T0" fmla="*/ 0 w 629"/>
                <a:gd name="T1" fmla="*/ 142 h 627"/>
                <a:gd name="T2" fmla="*/ 487 w 629"/>
                <a:gd name="T3" fmla="*/ 627 h 627"/>
                <a:gd name="T4" fmla="*/ 629 w 629"/>
                <a:gd name="T5" fmla="*/ 486 h 627"/>
                <a:gd name="T6" fmla="*/ 142 w 629"/>
                <a:gd name="T7" fmla="*/ 0 h 627"/>
                <a:gd name="T8" fmla="*/ 0 w 629"/>
                <a:gd name="T9" fmla="*/ 142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627">
                  <a:moveTo>
                    <a:pt x="0" y="142"/>
                  </a:moveTo>
                  <a:lnTo>
                    <a:pt x="487" y="627"/>
                  </a:lnTo>
                  <a:lnTo>
                    <a:pt x="629" y="486"/>
                  </a:lnTo>
                  <a:lnTo>
                    <a:pt x="142" y="0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7689A4C-1E4E-45B0-A866-16871E48E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7875" y="387351"/>
              <a:ext cx="123825" cy="123825"/>
            </a:xfrm>
            <a:custGeom>
              <a:avLst/>
              <a:gdLst>
                <a:gd name="T0" fmla="*/ 486 w 628"/>
                <a:gd name="T1" fmla="*/ 0 h 627"/>
                <a:gd name="T2" fmla="*/ 0 w 628"/>
                <a:gd name="T3" fmla="*/ 486 h 627"/>
                <a:gd name="T4" fmla="*/ 141 w 628"/>
                <a:gd name="T5" fmla="*/ 627 h 627"/>
                <a:gd name="T6" fmla="*/ 628 w 628"/>
                <a:gd name="T7" fmla="*/ 142 h 627"/>
                <a:gd name="T8" fmla="*/ 486 w 628"/>
                <a:gd name="T9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8" h="627">
                  <a:moveTo>
                    <a:pt x="486" y="0"/>
                  </a:moveTo>
                  <a:lnTo>
                    <a:pt x="0" y="486"/>
                  </a:lnTo>
                  <a:lnTo>
                    <a:pt x="141" y="627"/>
                  </a:lnTo>
                  <a:lnTo>
                    <a:pt x="628" y="142"/>
                  </a:lnTo>
                  <a:lnTo>
                    <a:pt x="4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A8F0C21B-06A0-4C75-B5D1-43F96DA5D1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700" y="517526"/>
              <a:ext cx="125413" cy="123825"/>
            </a:xfrm>
            <a:custGeom>
              <a:avLst/>
              <a:gdLst>
                <a:gd name="T0" fmla="*/ 0 w 629"/>
                <a:gd name="T1" fmla="*/ 486 h 628"/>
                <a:gd name="T2" fmla="*/ 487 w 629"/>
                <a:gd name="T3" fmla="*/ 0 h 628"/>
                <a:gd name="T4" fmla="*/ 629 w 629"/>
                <a:gd name="T5" fmla="*/ 142 h 628"/>
                <a:gd name="T6" fmla="*/ 142 w 629"/>
                <a:gd name="T7" fmla="*/ 628 h 628"/>
                <a:gd name="T8" fmla="*/ 0 w 629"/>
                <a:gd name="T9" fmla="*/ 486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628">
                  <a:moveTo>
                    <a:pt x="0" y="486"/>
                  </a:moveTo>
                  <a:lnTo>
                    <a:pt x="487" y="0"/>
                  </a:lnTo>
                  <a:lnTo>
                    <a:pt x="629" y="142"/>
                  </a:lnTo>
                  <a:lnTo>
                    <a:pt x="142" y="628"/>
                  </a:lnTo>
                  <a:lnTo>
                    <a:pt x="0" y="4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29F23797-BBD7-405F-94CD-F46A67402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7875" y="517526"/>
              <a:ext cx="123825" cy="123825"/>
            </a:xfrm>
            <a:custGeom>
              <a:avLst/>
              <a:gdLst>
                <a:gd name="T0" fmla="*/ 486 w 628"/>
                <a:gd name="T1" fmla="*/ 627 h 627"/>
                <a:gd name="T2" fmla="*/ 0 w 628"/>
                <a:gd name="T3" fmla="*/ 141 h 627"/>
                <a:gd name="T4" fmla="*/ 141 w 628"/>
                <a:gd name="T5" fmla="*/ 0 h 627"/>
                <a:gd name="T6" fmla="*/ 628 w 628"/>
                <a:gd name="T7" fmla="*/ 486 h 627"/>
                <a:gd name="T8" fmla="*/ 486 w 628"/>
                <a:gd name="T9" fmla="*/ 62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8" h="627">
                  <a:moveTo>
                    <a:pt x="486" y="627"/>
                  </a:moveTo>
                  <a:lnTo>
                    <a:pt x="0" y="141"/>
                  </a:lnTo>
                  <a:lnTo>
                    <a:pt x="141" y="0"/>
                  </a:lnTo>
                  <a:lnTo>
                    <a:pt x="628" y="486"/>
                  </a:lnTo>
                  <a:lnTo>
                    <a:pt x="486" y="6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97970935-A8D3-4DF9-812D-1D89EF380F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1475" y="382588"/>
              <a:ext cx="238125" cy="254000"/>
            </a:xfrm>
            <a:custGeom>
              <a:avLst/>
              <a:gdLst>
                <a:gd name="T0" fmla="*/ 997 w 1200"/>
                <a:gd name="T1" fmla="*/ 1277 h 1277"/>
                <a:gd name="T2" fmla="*/ 1200 w 1200"/>
                <a:gd name="T3" fmla="*/ 1277 h 1277"/>
                <a:gd name="T4" fmla="*/ 601 w 1200"/>
                <a:gd name="T5" fmla="*/ 0 h 1277"/>
                <a:gd name="T6" fmla="*/ 0 w 1200"/>
                <a:gd name="T7" fmla="*/ 1277 h 1277"/>
                <a:gd name="T8" fmla="*/ 204 w 1200"/>
                <a:gd name="T9" fmla="*/ 1277 h 1277"/>
                <a:gd name="T10" fmla="*/ 339 w 1200"/>
                <a:gd name="T11" fmla="*/ 989 h 1277"/>
                <a:gd name="T12" fmla="*/ 862 w 1200"/>
                <a:gd name="T13" fmla="*/ 989 h 1277"/>
                <a:gd name="T14" fmla="*/ 997 w 1200"/>
                <a:gd name="T15" fmla="*/ 1277 h 1277"/>
                <a:gd name="T16" fmla="*/ 601 w 1200"/>
                <a:gd name="T17" fmla="*/ 431 h 1277"/>
                <a:gd name="T18" fmla="*/ 774 w 1200"/>
                <a:gd name="T19" fmla="*/ 802 h 1277"/>
                <a:gd name="T20" fmla="*/ 427 w 1200"/>
                <a:gd name="T21" fmla="*/ 802 h 1277"/>
                <a:gd name="T22" fmla="*/ 601 w 1200"/>
                <a:gd name="T23" fmla="*/ 431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0" h="1277">
                  <a:moveTo>
                    <a:pt x="997" y="1277"/>
                  </a:moveTo>
                  <a:lnTo>
                    <a:pt x="1200" y="1277"/>
                  </a:lnTo>
                  <a:lnTo>
                    <a:pt x="601" y="0"/>
                  </a:lnTo>
                  <a:lnTo>
                    <a:pt x="0" y="1277"/>
                  </a:lnTo>
                  <a:lnTo>
                    <a:pt x="204" y="1277"/>
                  </a:lnTo>
                  <a:lnTo>
                    <a:pt x="339" y="989"/>
                  </a:lnTo>
                  <a:lnTo>
                    <a:pt x="862" y="989"/>
                  </a:lnTo>
                  <a:lnTo>
                    <a:pt x="997" y="1277"/>
                  </a:lnTo>
                  <a:close/>
                  <a:moveTo>
                    <a:pt x="601" y="431"/>
                  </a:moveTo>
                  <a:lnTo>
                    <a:pt x="774" y="802"/>
                  </a:lnTo>
                  <a:lnTo>
                    <a:pt x="427" y="802"/>
                  </a:lnTo>
                  <a:lnTo>
                    <a:pt x="601" y="4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6852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sldNum="0" hdr="0" dt="0"/>
  <p:txStyles>
    <p:titleStyle>
      <a:lvl1pPr algn="l" defTabSz="1219170" rtl="0" eaLnBrk="1" latinLnBrk="0" hangingPunct="1">
        <a:spcBef>
          <a:spcPts val="533"/>
        </a:spcBef>
        <a:buNone/>
        <a:defRPr sz="2933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585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9170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754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8339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880">
          <p15:clr>
            <a:srgbClr val="F26B43"/>
          </p15:clr>
        </p15:guide>
        <p15:guide id="3" orient="horz" pos="1308">
          <p15:clr>
            <a:srgbClr val="F26B43"/>
          </p15:clr>
        </p15:guide>
        <p15:guide id="4" orient="horz" pos="1156">
          <p15:clr>
            <a:srgbClr val="F26B43"/>
          </p15:clr>
        </p15:guide>
        <p15:guide id="5" orient="horz" pos="300">
          <p15:clr>
            <a:srgbClr val="F26B43"/>
          </p15:clr>
        </p15:guide>
        <p15:guide id="6" orient="horz" pos="5480">
          <p15:clr>
            <a:srgbClr val="F26B43"/>
          </p15:clr>
        </p15:guide>
        <p15:guide id="7" orient="horz" pos="5329">
          <p15:clr>
            <a:srgbClr val="F26B43"/>
          </p15:clr>
        </p15:guide>
        <p15:guide id="8" orient="horz" pos="3294">
          <p15:clr>
            <a:srgbClr val="F26B43"/>
          </p15:clr>
        </p15:guide>
        <p15:guide id="9" pos="347">
          <p15:clr>
            <a:srgbClr val="F26B43"/>
          </p15:clr>
        </p15:guide>
        <p15:guide id="10" pos="733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46428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600" b="1" i="0" baseline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B3B2E4-9E31-49E5-9646-E13946C42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180"/>
            <a:ext cx="12191998" cy="492044"/>
          </a:xfrm>
          <a:prstGeom prst="rect">
            <a:avLst/>
          </a:prstGeom>
        </p:spPr>
        <p:txBody>
          <a:bodyPr vert="horz" lIns="252000" tIns="45720" rIns="91440" bIns="4572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B37415-B634-47E3-83D7-34C7A68668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1825625"/>
            <a:ext cx="12191998" cy="4351338"/>
          </a:xfrm>
          <a:prstGeom prst="rect">
            <a:avLst/>
          </a:prstGeom>
        </p:spPr>
        <p:txBody>
          <a:bodyPr vert="horz" lIns="25200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133F50B-0B5E-49EC-BCB3-4E17D1A47A33}"/>
              </a:ext>
            </a:extLst>
          </p:cNvPr>
          <p:cNvSpPr/>
          <p:nvPr/>
        </p:nvSpPr>
        <p:spPr>
          <a:xfrm rot="10800000">
            <a:off x="0" y="6803999"/>
            <a:ext cx="1219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 userDrawn="1"/>
        </p:nvSpPr>
        <p:spPr>
          <a:xfrm>
            <a:off x="162530" y="6446272"/>
            <a:ext cx="223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8C498-377E-47B4-9B3F-E4B77ABA498E}" type="datetimeFigureOut">
              <a:rPr lang="de-DE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0.2025</a:t>
            </a:fld>
            <a:r>
              <a:rPr lang="de-DE" sz="1200">
                <a:solidFill>
                  <a:schemeClr val="tx1">
                    <a:lumMod val="50000"/>
                    <a:lumOff val="50000"/>
                  </a:schemeClr>
                </a:solidFill>
              </a:rPr>
              <a:t> / PP / </a:t>
            </a:r>
            <a:fld id="{0ABF30C8-4F5C-4EBA-AC88-118F21E866D4}" type="slidenum">
              <a:rPr lang="de-DE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/>
          </a:p>
        </p:txBody>
      </p:sp>
      <p:pic>
        <p:nvPicPr>
          <p:cNvPr id="6" name="Picture 2" descr="P:\Logos\Koehler-Group_2013_RZ_4c[19].gif">
            <a:extLst>
              <a:ext uri="{FF2B5EF4-FFF2-40B4-BE49-F238E27FC236}">
                <a16:creationId xmlns:a16="http://schemas.microsoft.com/office/drawing/2014/main" id="{9DEB1FAD-267C-7B61-30C4-25683A0508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8498" y="6473227"/>
            <a:ext cx="1858511" cy="294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57992CD-9A87-5E7A-9FCF-2188F94C716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68088" y="63500"/>
            <a:ext cx="78263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/INTERNAL</a:t>
            </a:r>
          </a:p>
        </p:txBody>
      </p:sp>
    </p:spTree>
    <p:extLst>
      <p:ext uri="{BB962C8B-B14F-4D97-AF65-F5344CB8AC3E}">
        <p14:creationId xmlns:p14="http://schemas.microsoft.com/office/powerpoint/2010/main" val="5116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jp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8CB19FB-7C96-4FEC-9331-E826E4E36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fik 2" descr="Ein Bild, das Kleidung, Himmel, Person, Wolkenkratzer enthält.&#10;&#10;KI-generierte Inhalte können fehlerhaft sein.">
            <a:extLst>
              <a:ext uri="{FF2B5EF4-FFF2-40B4-BE49-F238E27FC236}">
                <a16:creationId xmlns:a16="http://schemas.microsoft.com/office/drawing/2014/main" id="{3DCAB072-CAD2-510C-309D-46D8CB3F2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0" r="-1" b="5554"/>
          <a:stretch>
            <a:fillRect/>
          </a:stretch>
        </p:blipFill>
        <p:spPr>
          <a:xfrm>
            <a:off x="1235925" y="-7622"/>
            <a:ext cx="9939893" cy="686562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F071BB7-867E-46A9-A7C2-3FCB28CB8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3810"/>
            <a:ext cx="12192000" cy="6858000"/>
            <a:chOff x="0" y="-3810"/>
            <a:chExt cx="12192000" cy="68580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FF0FCAE-6984-42EA-83CB-9F69F24A3E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0219" y="-3810"/>
              <a:ext cx="8273365" cy="6858000"/>
            </a:xfrm>
            <a:custGeom>
              <a:avLst/>
              <a:gdLst>
                <a:gd name="connsiteX0" fmla="*/ 4102025 w 8273365"/>
                <a:gd name="connsiteY0" fmla="*/ 169161 h 6858000"/>
                <a:gd name="connsiteX1" fmla="*/ 1827641 w 8273365"/>
                <a:gd name="connsiteY1" fmla="*/ 1129498 h 6858000"/>
                <a:gd name="connsiteX2" fmla="*/ 1132950 w 8273365"/>
                <a:gd name="connsiteY2" fmla="*/ 2178191 h 6858000"/>
                <a:gd name="connsiteX3" fmla="*/ 877835 w 8273365"/>
                <a:gd name="connsiteY3" fmla="*/ 3466345 h 6858000"/>
                <a:gd name="connsiteX4" fmla="*/ 1089650 w 8273365"/>
                <a:gd name="connsiteY4" fmla="*/ 4644934 h 6858000"/>
                <a:gd name="connsiteX5" fmla="*/ 1672144 w 8273365"/>
                <a:gd name="connsiteY5" fmla="*/ 5633505 h 6858000"/>
                <a:gd name="connsiteX6" fmla="*/ 2747751 w 8273365"/>
                <a:gd name="connsiteY6" fmla="*/ 6459556 h 6858000"/>
                <a:gd name="connsiteX7" fmla="*/ 4102171 w 8273365"/>
                <a:gd name="connsiteY7" fmla="*/ 6763529 h 6858000"/>
                <a:gd name="connsiteX8" fmla="*/ 5506765 w 8273365"/>
                <a:gd name="connsiteY8" fmla="*/ 5818405 h 6858000"/>
                <a:gd name="connsiteX9" fmla="*/ 5914160 w 8273365"/>
                <a:gd name="connsiteY9" fmla="*/ 5382925 h 6858000"/>
                <a:gd name="connsiteX10" fmla="*/ 6891758 w 8273365"/>
                <a:gd name="connsiteY10" fmla="*/ 4677848 h 6858000"/>
                <a:gd name="connsiteX11" fmla="*/ 7158868 w 8273365"/>
                <a:gd name="connsiteY11" fmla="*/ 4511965 h 6858000"/>
                <a:gd name="connsiteX12" fmla="*/ 7306320 w 8273365"/>
                <a:gd name="connsiteY12" fmla="*/ 4179467 h 6858000"/>
                <a:gd name="connsiteX13" fmla="*/ 7315828 w 8273365"/>
                <a:gd name="connsiteY13" fmla="*/ 2884730 h 6858000"/>
                <a:gd name="connsiteX14" fmla="*/ 6704519 w 8273365"/>
                <a:gd name="connsiteY14" fmla="*/ 1640752 h 6858000"/>
                <a:gd name="connsiteX15" fmla="*/ 5471805 w 8273365"/>
                <a:gd name="connsiteY15" fmla="*/ 563096 h 6858000"/>
                <a:gd name="connsiteX16" fmla="*/ 4102025 w 8273365"/>
                <a:gd name="connsiteY16" fmla="*/ 169161 h 6858000"/>
                <a:gd name="connsiteX17" fmla="*/ 1815426 w 8273365"/>
                <a:gd name="connsiteY17" fmla="*/ 0 h 6858000"/>
                <a:gd name="connsiteX18" fmla="*/ 6228114 w 8273365"/>
                <a:gd name="connsiteY18" fmla="*/ 0 h 6858000"/>
                <a:gd name="connsiteX19" fmla="*/ 6378838 w 8273365"/>
                <a:gd name="connsiteY19" fmla="*/ 104569 h 6858000"/>
                <a:gd name="connsiteX20" fmla="*/ 8151535 w 8273365"/>
                <a:gd name="connsiteY20" fmla="*/ 4415712 h 6858000"/>
                <a:gd name="connsiteX21" fmla="*/ 6540097 w 8273365"/>
                <a:gd name="connsiteY21" fmla="*/ 5998038 h 6858000"/>
                <a:gd name="connsiteX22" fmla="*/ 5741125 w 8273365"/>
                <a:gd name="connsiteY22" fmla="*/ 6849976 h 6858000"/>
                <a:gd name="connsiteX23" fmla="*/ 5732797 w 8273365"/>
                <a:gd name="connsiteY23" fmla="*/ 6858000 h 6858000"/>
                <a:gd name="connsiteX24" fmla="*/ 1711956 w 8273365"/>
                <a:gd name="connsiteY24" fmla="*/ 6858000 h 6858000"/>
                <a:gd name="connsiteX25" fmla="*/ 1631859 w 8273365"/>
                <a:gd name="connsiteY25" fmla="*/ 6799706 h 6858000"/>
                <a:gd name="connsiteX26" fmla="*/ 1004515 w 8273365"/>
                <a:gd name="connsiteY26" fmla="*/ 6203417 h 6858000"/>
                <a:gd name="connsiteX27" fmla="*/ 0 w 8273365"/>
                <a:gd name="connsiteY27" fmla="*/ 3466345 h 6858000"/>
                <a:gd name="connsiteX28" fmla="*/ 1808555 w 8273365"/>
                <a:gd name="connsiteY28" fmla="*/ 448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273365" h="6858000">
                  <a:moveTo>
                    <a:pt x="4102025" y="169161"/>
                  </a:moveTo>
                  <a:cubicBezTo>
                    <a:pt x="3243792" y="169161"/>
                    <a:pt x="2435879" y="510143"/>
                    <a:pt x="1827641" y="1129498"/>
                  </a:cubicBezTo>
                  <a:cubicBezTo>
                    <a:pt x="1529958" y="1432447"/>
                    <a:pt x="1296200" y="1785278"/>
                    <a:pt x="1132950" y="2178191"/>
                  </a:cubicBezTo>
                  <a:cubicBezTo>
                    <a:pt x="963703" y="2585585"/>
                    <a:pt x="877835" y="3019017"/>
                    <a:pt x="877835" y="3466345"/>
                  </a:cubicBezTo>
                  <a:cubicBezTo>
                    <a:pt x="877835" y="3873007"/>
                    <a:pt x="949074" y="4269431"/>
                    <a:pt x="1089650" y="4644934"/>
                  </a:cubicBezTo>
                  <a:cubicBezTo>
                    <a:pt x="1225254" y="5007127"/>
                    <a:pt x="1421271" y="5339626"/>
                    <a:pt x="1672144" y="5633505"/>
                  </a:cubicBezTo>
                  <a:cubicBezTo>
                    <a:pt x="1968657" y="5980924"/>
                    <a:pt x="2340649" y="6266465"/>
                    <a:pt x="2747751" y="6459556"/>
                  </a:cubicBezTo>
                  <a:cubicBezTo>
                    <a:pt x="3172991" y="6661277"/>
                    <a:pt x="3628659" y="6763529"/>
                    <a:pt x="4102171" y="6763529"/>
                  </a:cubicBezTo>
                  <a:cubicBezTo>
                    <a:pt x="4621030" y="6763529"/>
                    <a:pt x="4940657" y="6439515"/>
                    <a:pt x="5506765" y="5818405"/>
                  </a:cubicBezTo>
                  <a:cubicBezTo>
                    <a:pt x="5636225" y="5676365"/>
                    <a:pt x="5770072" y="5529498"/>
                    <a:pt x="5914160" y="5382925"/>
                  </a:cubicBezTo>
                  <a:cubicBezTo>
                    <a:pt x="6290981" y="4999374"/>
                    <a:pt x="6638252" y="4813450"/>
                    <a:pt x="6891758" y="4677848"/>
                  </a:cubicBezTo>
                  <a:cubicBezTo>
                    <a:pt x="7016098" y="4611144"/>
                    <a:pt x="7114398" y="4558629"/>
                    <a:pt x="7158868" y="4511965"/>
                  </a:cubicBezTo>
                  <a:cubicBezTo>
                    <a:pt x="7208604" y="4459742"/>
                    <a:pt x="7260974" y="4341693"/>
                    <a:pt x="7306320" y="4179467"/>
                  </a:cubicBezTo>
                  <a:cubicBezTo>
                    <a:pt x="7422466" y="3764174"/>
                    <a:pt x="7425540" y="3328547"/>
                    <a:pt x="7315828" y="2884730"/>
                  </a:cubicBezTo>
                  <a:cubicBezTo>
                    <a:pt x="7210506" y="2459197"/>
                    <a:pt x="6999129" y="2028984"/>
                    <a:pt x="6704519" y="1640752"/>
                  </a:cubicBezTo>
                  <a:cubicBezTo>
                    <a:pt x="6369826" y="1199861"/>
                    <a:pt x="5943562" y="827136"/>
                    <a:pt x="5471805" y="563096"/>
                  </a:cubicBezTo>
                  <a:cubicBezTo>
                    <a:pt x="5011311" y="305349"/>
                    <a:pt x="4537651" y="169161"/>
                    <a:pt x="4102025" y="169161"/>
                  </a:cubicBezTo>
                  <a:close/>
                  <a:moveTo>
                    <a:pt x="1815426" y="0"/>
                  </a:moveTo>
                  <a:lnTo>
                    <a:pt x="6228114" y="0"/>
                  </a:lnTo>
                  <a:lnTo>
                    <a:pt x="6378838" y="104569"/>
                  </a:lnTo>
                  <a:cubicBezTo>
                    <a:pt x="7701449" y="1070221"/>
                    <a:pt x="8614337" y="2759472"/>
                    <a:pt x="8151535" y="4415712"/>
                  </a:cubicBezTo>
                  <a:cubicBezTo>
                    <a:pt x="7841710" y="5524525"/>
                    <a:pt x="7282330" y="5242495"/>
                    <a:pt x="6540097" y="5998038"/>
                  </a:cubicBezTo>
                  <a:cubicBezTo>
                    <a:pt x="6261706" y="6281367"/>
                    <a:pt x="6008555" y="6583271"/>
                    <a:pt x="5741125" y="6849976"/>
                  </a:cubicBezTo>
                  <a:lnTo>
                    <a:pt x="5732797" y="6858000"/>
                  </a:lnTo>
                  <a:lnTo>
                    <a:pt x="1711956" y="6858000"/>
                  </a:lnTo>
                  <a:lnTo>
                    <a:pt x="1631859" y="6799706"/>
                  </a:lnTo>
                  <a:cubicBezTo>
                    <a:pt x="1402830" y="6623620"/>
                    <a:pt x="1192523" y="6423644"/>
                    <a:pt x="1004515" y="6203417"/>
                  </a:cubicBezTo>
                  <a:cubicBezTo>
                    <a:pt x="378870" y="5470546"/>
                    <a:pt x="0" y="4513427"/>
                    <a:pt x="0" y="3466345"/>
                  </a:cubicBezTo>
                  <a:cubicBezTo>
                    <a:pt x="0" y="2025290"/>
                    <a:pt x="717408" y="754744"/>
                    <a:pt x="1808555" y="4483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EEDAA96-38BD-4AC0-8E5F-CF74F5C718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0219" y="-3810"/>
              <a:ext cx="8273365" cy="6858000"/>
            </a:xfrm>
            <a:custGeom>
              <a:avLst/>
              <a:gdLst>
                <a:gd name="connsiteX0" fmla="*/ 1616062 w 8273365"/>
                <a:gd name="connsiteY0" fmla="*/ 0 h 6858000"/>
                <a:gd name="connsiteX1" fmla="*/ 3206514 w 8273365"/>
                <a:gd name="connsiteY1" fmla="*/ 0 h 6858000"/>
                <a:gd name="connsiteX2" fmla="*/ 3122517 w 8273365"/>
                <a:gd name="connsiteY2" fmla="*/ 23655 h 6858000"/>
                <a:gd name="connsiteX3" fmla="*/ 1723196 w 8273365"/>
                <a:gd name="connsiteY3" fmla="*/ 880747 h 6858000"/>
                <a:gd name="connsiteX4" fmla="*/ 997786 w 8273365"/>
                <a:gd name="connsiteY4" fmla="*/ 1975811 h 6858000"/>
                <a:gd name="connsiteX5" fmla="*/ 731408 w 8273365"/>
                <a:gd name="connsiteY5" fmla="*/ 3320136 h 6858000"/>
                <a:gd name="connsiteX6" fmla="*/ 952731 w 8273365"/>
                <a:gd name="connsiteY6" fmla="*/ 4550071 h 6858000"/>
                <a:gd name="connsiteX7" fmla="*/ 1560970 w 8273365"/>
                <a:gd name="connsiteY7" fmla="*/ 5582379 h 6858000"/>
                <a:gd name="connsiteX8" fmla="*/ 2685142 w 8273365"/>
                <a:gd name="connsiteY8" fmla="*/ 6445587 h 6858000"/>
                <a:gd name="connsiteX9" fmla="*/ 4102171 w 8273365"/>
                <a:gd name="connsiteY9" fmla="*/ 6763602 h 6858000"/>
                <a:gd name="connsiteX10" fmla="*/ 4840307 w 8273365"/>
                <a:gd name="connsiteY10" fmla="*/ 6518434 h 6858000"/>
                <a:gd name="connsiteX11" fmla="*/ 5614867 w 8273365"/>
                <a:gd name="connsiteY11" fmla="*/ 5770643 h 6858000"/>
                <a:gd name="connsiteX12" fmla="*/ 6018458 w 8273365"/>
                <a:gd name="connsiteY12" fmla="*/ 5339114 h 6858000"/>
                <a:gd name="connsiteX13" fmla="*/ 6960802 w 8273365"/>
                <a:gd name="connsiteY13" fmla="*/ 4660514 h 6858000"/>
                <a:gd name="connsiteX14" fmla="*/ 7264776 w 8273365"/>
                <a:gd name="connsiteY14" fmla="*/ 4466544 h 6858000"/>
                <a:gd name="connsiteX15" fmla="*/ 7447190 w 8273365"/>
                <a:gd name="connsiteY15" fmla="*/ 4072462 h 6858000"/>
                <a:gd name="connsiteX16" fmla="*/ 7457722 w 8273365"/>
                <a:gd name="connsiteY16" fmla="*/ 2703268 h 6858000"/>
                <a:gd name="connsiteX17" fmla="*/ 6820959 w 8273365"/>
                <a:gd name="connsiteY17" fmla="*/ 1406044 h 6858000"/>
                <a:gd name="connsiteX18" fmla="*/ 5543190 w 8273365"/>
                <a:gd name="connsiteY18" fmla="*/ 289185 h 6858000"/>
                <a:gd name="connsiteX19" fmla="*/ 4996775 w 8273365"/>
                <a:gd name="connsiteY19" fmla="*/ 40060 h 6858000"/>
                <a:gd name="connsiteX20" fmla="*/ 4871645 w 8273365"/>
                <a:gd name="connsiteY20" fmla="*/ 0 h 6858000"/>
                <a:gd name="connsiteX21" fmla="*/ 6433093 w 8273365"/>
                <a:gd name="connsiteY21" fmla="*/ 0 h 6858000"/>
                <a:gd name="connsiteX22" fmla="*/ 6564891 w 8273365"/>
                <a:gd name="connsiteY22" fmla="*/ 101152 h 6858000"/>
                <a:gd name="connsiteX23" fmla="*/ 8151535 w 8273365"/>
                <a:gd name="connsiteY23" fmla="*/ 4269504 h 6858000"/>
                <a:gd name="connsiteX24" fmla="*/ 6540097 w 8273365"/>
                <a:gd name="connsiteY24" fmla="*/ 5851830 h 6858000"/>
                <a:gd name="connsiteX25" fmla="*/ 5606037 w 8273365"/>
                <a:gd name="connsiteY25" fmla="*/ 6833938 h 6858000"/>
                <a:gd name="connsiteX26" fmla="*/ 5578888 w 8273365"/>
                <a:gd name="connsiteY26" fmla="*/ 6858000 h 6858000"/>
                <a:gd name="connsiteX27" fmla="*/ 1925521 w 8273365"/>
                <a:gd name="connsiteY27" fmla="*/ 6858000 h 6858000"/>
                <a:gd name="connsiteX28" fmla="*/ 1807085 w 8273365"/>
                <a:gd name="connsiteY28" fmla="*/ 6781026 h 6858000"/>
                <a:gd name="connsiteX29" fmla="*/ 1004515 w 8273365"/>
                <a:gd name="connsiteY29" fmla="*/ 6057209 h 6858000"/>
                <a:gd name="connsiteX30" fmla="*/ 0 w 8273365"/>
                <a:gd name="connsiteY30" fmla="*/ 3320136 h 6858000"/>
                <a:gd name="connsiteX31" fmla="*/ 1492767 w 8273365"/>
                <a:gd name="connsiteY31" fmla="*/ 9861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273365" h="6858000">
                  <a:moveTo>
                    <a:pt x="1616062" y="0"/>
                  </a:moveTo>
                  <a:lnTo>
                    <a:pt x="3206514" y="0"/>
                  </a:lnTo>
                  <a:lnTo>
                    <a:pt x="3122517" y="23655"/>
                  </a:lnTo>
                  <a:cubicBezTo>
                    <a:pt x="2599902" y="185042"/>
                    <a:pt x="2120807" y="476097"/>
                    <a:pt x="1723196" y="880747"/>
                  </a:cubicBezTo>
                  <a:cubicBezTo>
                    <a:pt x="1412348" y="1197008"/>
                    <a:pt x="1168351" y="1565490"/>
                    <a:pt x="997786" y="1975811"/>
                  </a:cubicBezTo>
                  <a:cubicBezTo>
                    <a:pt x="821078" y="2401050"/>
                    <a:pt x="731408" y="2853352"/>
                    <a:pt x="731408" y="3320136"/>
                  </a:cubicBezTo>
                  <a:cubicBezTo>
                    <a:pt x="731408" y="3744353"/>
                    <a:pt x="805864" y="4158182"/>
                    <a:pt x="952731" y="4550071"/>
                  </a:cubicBezTo>
                  <a:cubicBezTo>
                    <a:pt x="1094331" y="4928208"/>
                    <a:pt x="1298980" y="5275627"/>
                    <a:pt x="1560970" y="5582379"/>
                  </a:cubicBezTo>
                  <a:cubicBezTo>
                    <a:pt x="1870793" y="5945304"/>
                    <a:pt x="2259610" y="6243718"/>
                    <a:pt x="2685142" y="6445587"/>
                  </a:cubicBezTo>
                  <a:cubicBezTo>
                    <a:pt x="3130131" y="6656669"/>
                    <a:pt x="3606861" y="6763602"/>
                    <a:pt x="4102171" y="6763602"/>
                  </a:cubicBezTo>
                  <a:cubicBezTo>
                    <a:pt x="4371914" y="6763602"/>
                    <a:pt x="4599528" y="6687974"/>
                    <a:pt x="4840307" y="6518434"/>
                  </a:cubicBezTo>
                  <a:cubicBezTo>
                    <a:pt x="5099811" y="6335729"/>
                    <a:pt x="5349951" y="6061159"/>
                    <a:pt x="5614867" y="5770643"/>
                  </a:cubicBezTo>
                  <a:cubicBezTo>
                    <a:pt x="5743449" y="5629628"/>
                    <a:pt x="5876273" y="5483786"/>
                    <a:pt x="6018458" y="5339114"/>
                  </a:cubicBezTo>
                  <a:cubicBezTo>
                    <a:pt x="6379773" y="4971361"/>
                    <a:pt x="6715635" y="4791728"/>
                    <a:pt x="6960802" y="4660514"/>
                  </a:cubicBezTo>
                  <a:cubicBezTo>
                    <a:pt x="7116154" y="4577280"/>
                    <a:pt x="7206994" y="4527251"/>
                    <a:pt x="7264776" y="4466544"/>
                  </a:cubicBezTo>
                  <a:cubicBezTo>
                    <a:pt x="7332650" y="4395306"/>
                    <a:pt x="7394089" y="4262628"/>
                    <a:pt x="7447190" y="4072462"/>
                  </a:cubicBezTo>
                  <a:cubicBezTo>
                    <a:pt x="7570066" y="3632594"/>
                    <a:pt x="7573576" y="3171954"/>
                    <a:pt x="7457722" y="2703268"/>
                  </a:cubicBezTo>
                  <a:cubicBezTo>
                    <a:pt x="7347718" y="2258572"/>
                    <a:pt x="7127565" y="1810073"/>
                    <a:pt x="6820959" y="1406044"/>
                  </a:cubicBezTo>
                  <a:cubicBezTo>
                    <a:pt x="6474271" y="949207"/>
                    <a:pt x="6032355" y="563024"/>
                    <a:pt x="5543190" y="289185"/>
                  </a:cubicBezTo>
                  <a:cubicBezTo>
                    <a:pt x="5362386" y="187977"/>
                    <a:pt x="5179299" y="104665"/>
                    <a:pt x="4996775" y="40060"/>
                  </a:cubicBezTo>
                  <a:lnTo>
                    <a:pt x="4871645" y="0"/>
                  </a:lnTo>
                  <a:lnTo>
                    <a:pt x="6433093" y="0"/>
                  </a:lnTo>
                  <a:lnTo>
                    <a:pt x="6564891" y="101152"/>
                  </a:lnTo>
                  <a:cubicBezTo>
                    <a:pt x="7785271" y="1084819"/>
                    <a:pt x="8592299" y="2692132"/>
                    <a:pt x="8151535" y="4269504"/>
                  </a:cubicBezTo>
                  <a:cubicBezTo>
                    <a:pt x="7841710" y="5378317"/>
                    <a:pt x="7282330" y="5096287"/>
                    <a:pt x="6540097" y="5851830"/>
                  </a:cubicBezTo>
                  <a:cubicBezTo>
                    <a:pt x="6215307" y="6182380"/>
                    <a:pt x="5924872" y="6538214"/>
                    <a:pt x="5606037" y="6833938"/>
                  </a:cubicBezTo>
                  <a:lnTo>
                    <a:pt x="5578888" y="6858000"/>
                  </a:lnTo>
                  <a:lnTo>
                    <a:pt x="1925521" y="6858000"/>
                  </a:lnTo>
                  <a:lnTo>
                    <a:pt x="1807085" y="6781026"/>
                  </a:lnTo>
                  <a:cubicBezTo>
                    <a:pt x="1509378" y="6576133"/>
                    <a:pt x="1239525" y="6332492"/>
                    <a:pt x="1004515" y="6057209"/>
                  </a:cubicBezTo>
                  <a:cubicBezTo>
                    <a:pt x="378870" y="5324338"/>
                    <a:pt x="0" y="4367220"/>
                    <a:pt x="0" y="3320136"/>
                  </a:cubicBezTo>
                  <a:cubicBezTo>
                    <a:pt x="0" y="2023187"/>
                    <a:pt x="581101" y="864350"/>
                    <a:pt x="1492767" y="98612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000679E-B592-4134-AC05-8EC80BBC4D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37594" y="-3810"/>
              <a:ext cx="8219860" cy="6858000"/>
            </a:xfrm>
            <a:custGeom>
              <a:avLst/>
              <a:gdLst>
                <a:gd name="connsiteX0" fmla="*/ 5534366 w 8219860"/>
                <a:gd name="connsiteY0" fmla="*/ 0 h 6858000"/>
                <a:gd name="connsiteX1" fmla="*/ 6263243 w 8219860"/>
                <a:gd name="connsiteY1" fmla="*/ 0 h 6858000"/>
                <a:gd name="connsiteX2" fmla="*/ 6295307 w 8219860"/>
                <a:gd name="connsiteY2" fmla="*/ 21377 h 6858000"/>
                <a:gd name="connsiteX3" fmla="*/ 6907056 w 8219860"/>
                <a:gd name="connsiteY3" fmla="*/ 522976 h 6858000"/>
                <a:gd name="connsiteX4" fmla="*/ 7434107 w 8219860"/>
                <a:gd name="connsiteY4" fmla="*/ 1119513 h 6858000"/>
                <a:gd name="connsiteX5" fmla="*/ 7856130 w 8219860"/>
                <a:gd name="connsiteY5" fmla="*/ 1802940 h 6858000"/>
                <a:gd name="connsiteX6" fmla="*/ 8019380 w 8219860"/>
                <a:gd name="connsiteY6" fmla="*/ 2174201 h 6858000"/>
                <a:gd name="connsiteX7" fmla="*/ 8054634 w 8219860"/>
                <a:gd name="connsiteY7" fmla="*/ 2269723 h 6858000"/>
                <a:gd name="connsiteX8" fmla="*/ 8086962 w 8219860"/>
                <a:gd name="connsiteY8" fmla="*/ 2366562 h 6858000"/>
                <a:gd name="connsiteX9" fmla="*/ 8115633 w 8219860"/>
                <a:gd name="connsiteY9" fmla="*/ 2464717 h 6858000"/>
                <a:gd name="connsiteX10" fmla="*/ 8140794 w 8219860"/>
                <a:gd name="connsiteY10" fmla="*/ 2563895 h 6858000"/>
                <a:gd name="connsiteX11" fmla="*/ 8218615 w 8219860"/>
                <a:gd name="connsiteY11" fmla="*/ 3378975 h 6858000"/>
                <a:gd name="connsiteX12" fmla="*/ 8175170 w 8219860"/>
                <a:gd name="connsiteY12" fmla="*/ 3786370 h 6858000"/>
                <a:gd name="connsiteX13" fmla="*/ 8073943 w 8219860"/>
                <a:gd name="connsiteY13" fmla="*/ 4180891 h 6858000"/>
                <a:gd name="connsiteX14" fmla="*/ 7939071 w 8219860"/>
                <a:gd name="connsiteY14" fmla="*/ 4562246 h 6858000"/>
                <a:gd name="connsiteX15" fmla="*/ 7854229 w 8219860"/>
                <a:gd name="connsiteY15" fmla="*/ 4751828 h 6858000"/>
                <a:gd name="connsiteX16" fmla="*/ 7745102 w 8219860"/>
                <a:gd name="connsiteY16" fmla="*/ 4936435 h 6858000"/>
                <a:gd name="connsiteX17" fmla="*/ 7605403 w 8219860"/>
                <a:gd name="connsiteY17" fmla="*/ 5106852 h 6858000"/>
                <a:gd name="connsiteX18" fmla="*/ 7524949 w 8219860"/>
                <a:gd name="connsiteY18" fmla="*/ 5182481 h 6858000"/>
                <a:gd name="connsiteX19" fmla="*/ 7440106 w 8219860"/>
                <a:gd name="connsiteY19" fmla="*/ 5250208 h 6858000"/>
                <a:gd name="connsiteX20" fmla="*/ 7101758 w 8219860"/>
                <a:gd name="connsiteY20" fmla="*/ 5463633 h 6858000"/>
                <a:gd name="connsiteX21" fmla="*/ 6804366 w 8219860"/>
                <a:gd name="connsiteY21" fmla="*/ 5657895 h 6858000"/>
                <a:gd name="connsiteX22" fmla="*/ 6671103 w 8219860"/>
                <a:gd name="connsiteY22" fmla="*/ 5765704 h 6858000"/>
                <a:gd name="connsiteX23" fmla="*/ 6545887 w 8219860"/>
                <a:gd name="connsiteY23" fmla="*/ 5882583 h 6858000"/>
                <a:gd name="connsiteX24" fmla="*/ 6485473 w 8219860"/>
                <a:gd name="connsiteY24" fmla="*/ 5945046 h 6858000"/>
                <a:gd name="connsiteX25" fmla="*/ 6423303 w 8219860"/>
                <a:gd name="connsiteY25" fmla="*/ 6011604 h 6858000"/>
                <a:gd name="connsiteX26" fmla="*/ 6298672 w 8219860"/>
                <a:gd name="connsiteY26" fmla="*/ 6146768 h 6858000"/>
                <a:gd name="connsiteX27" fmla="*/ 6040923 w 8219860"/>
                <a:gd name="connsiteY27" fmla="*/ 6418997 h 6858000"/>
                <a:gd name="connsiteX28" fmla="*/ 5907662 w 8219860"/>
                <a:gd name="connsiteY28" fmla="*/ 6555769 h 6858000"/>
                <a:gd name="connsiteX29" fmla="*/ 5769864 w 8219860"/>
                <a:gd name="connsiteY29" fmla="*/ 6691081 h 6858000"/>
                <a:gd name="connsiteX30" fmla="*/ 5581270 w 8219860"/>
                <a:gd name="connsiteY30" fmla="*/ 6858000 h 6858000"/>
                <a:gd name="connsiteX31" fmla="*/ 5057635 w 8219860"/>
                <a:gd name="connsiteY31" fmla="*/ 6858000 h 6858000"/>
                <a:gd name="connsiteX32" fmla="*/ 5112401 w 8219860"/>
                <a:gd name="connsiteY32" fmla="*/ 6812805 h 6858000"/>
                <a:gd name="connsiteX33" fmla="*/ 5241495 w 8219860"/>
                <a:gd name="connsiteY33" fmla="*/ 6689617 h 6858000"/>
                <a:gd name="connsiteX34" fmla="*/ 5485639 w 8219860"/>
                <a:gd name="connsiteY34" fmla="*/ 6421192 h 6858000"/>
                <a:gd name="connsiteX35" fmla="*/ 5603981 w 8219860"/>
                <a:gd name="connsiteY35" fmla="*/ 6279592 h 6858000"/>
                <a:gd name="connsiteX36" fmla="*/ 5722615 w 8219860"/>
                <a:gd name="connsiteY36" fmla="*/ 6135503 h 6858000"/>
                <a:gd name="connsiteX37" fmla="*/ 5967636 w 8219860"/>
                <a:gd name="connsiteY37" fmla="*/ 5845135 h 6858000"/>
                <a:gd name="connsiteX38" fmla="*/ 6099583 w 8219860"/>
                <a:gd name="connsiteY38" fmla="*/ 5703828 h 6858000"/>
                <a:gd name="connsiteX39" fmla="*/ 6168189 w 8219860"/>
                <a:gd name="connsiteY39" fmla="*/ 5634490 h 6858000"/>
                <a:gd name="connsiteX40" fmla="*/ 6241769 w 8219860"/>
                <a:gd name="connsiteY40" fmla="*/ 5564129 h 6858000"/>
                <a:gd name="connsiteX41" fmla="*/ 6567684 w 8219860"/>
                <a:gd name="connsiteY41" fmla="*/ 5312962 h 6858000"/>
                <a:gd name="connsiteX42" fmla="*/ 6918466 w 8219860"/>
                <a:gd name="connsiteY42" fmla="*/ 5121628 h 6858000"/>
                <a:gd name="connsiteX43" fmla="*/ 7084202 w 8219860"/>
                <a:gd name="connsiteY43" fmla="*/ 5039856 h 6858000"/>
                <a:gd name="connsiteX44" fmla="*/ 7231508 w 8219860"/>
                <a:gd name="connsiteY44" fmla="*/ 4955159 h 6858000"/>
                <a:gd name="connsiteX45" fmla="*/ 7455757 w 8219860"/>
                <a:gd name="connsiteY45" fmla="*/ 4736907 h 6858000"/>
                <a:gd name="connsiteX46" fmla="*/ 7597796 w 8219860"/>
                <a:gd name="connsiteY46" fmla="*/ 4437761 h 6858000"/>
                <a:gd name="connsiteX47" fmla="*/ 7667720 w 8219860"/>
                <a:gd name="connsiteY47" fmla="*/ 4093562 h 6858000"/>
                <a:gd name="connsiteX48" fmla="*/ 7680008 w 8219860"/>
                <a:gd name="connsiteY48" fmla="*/ 3742632 h 6858000"/>
                <a:gd name="connsiteX49" fmla="*/ 7657188 w 8219860"/>
                <a:gd name="connsiteY49" fmla="*/ 3396237 h 6858000"/>
                <a:gd name="connsiteX50" fmla="*/ 7604818 w 8219860"/>
                <a:gd name="connsiteY50" fmla="*/ 3055255 h 6858000"/>
                <a:gd name="connsiteX51" fmla="*/ 7522900 w 8219860"/>
                <a:gd name="connsiteY51" fmla="*/ 2720270 h 6858000"/>
                <a:gd name="connsiteX52" fmla="*/ 7299968 w 8219860"/>
                <a:gd name="connsiteY52" fmla="*/ 2062442 h 6858000"/>
                <a:gd name="connsiteX53" fmla="*/ 6971566 w 8219860"/>
                <a:gd name="connsiteY53" fmla="*/ 1438698 h 6858000"/>
                <a:gd name="connsiteX54" fmla="*/ 6771307 w 8219860"/>
                <a:gd name="connsiteY54" fmla="*/ 1144380 h 6858000"/>
                <a:gd name="connsiteX55" fmla="*/ 6547935 w 8219860"/>
                <a:gd name="connsiteY55" fmla="*/ 865129 h 6858000"/>
                <a:gd name="connsiteX56" fmla="*/ 6037997 w 8219860"/>
                <a:gd name="connsiteY56" fmla="*/ 359872 h 6858000"/>
                <a:gd name="connsiteX57" fmla="*/ 5602369 w 8219860"/>
                <a:gd name="connsiteY57" fmla="*/ 40572 h 6858000"/>
                <a:gd name="connsiteX58" fmla="*/ 1689206 w 8219860"/>
                <a:gd name="connsiteY58" fmla="*/ 0 h 6858000"/>
                <a:gd name="connsiteX59" fmla="*/ 2580244 w 8219860"/>
                <a:gd name="connsiteY59" fmla="*/ 0 h 6858000"/>
                <a:gd name="connsiteX60" fmla="*/ 2556490 w 8219860"/>
                <a:gd name="connsiteY60" fmla="*/ 13997 h 6858000"/>
                <a:gd name="connsiteX61" fmla="*/ 2125407 w 8219860"/>
                <a:gd name="connsiteY61" fmla="*/ 323156 h 6858000"/>
                <a:gd name="connsiteX62" fmla="*/ 1859322 w 8219860"/>
                <a:gd name="connsiteY62" fmla="*/ 553842 h 6858000"/>
                <a:gd name="connsiteX63" fmla="*/ 1607425 w 8219860"/>
                <a:gd name="connsiteY63" fmla="*/ 799741 h 6858000"/>
                <a:gd name="connsiteX64" fmla="*/ 861829 w 8219860"/>
                <a:gd name="connsiteY64" fmla="*/ 1987400 h 6858000"/>
                <a:gd name="connsiteX65" fmla="*/ 661422 w 8219860"/>
                <a:gd name="connsiteY65" fmla="*/ 2660149 h 6858000"/>
                <a:gd name="connsiteX66" fmla="*/ 608323 w 8219860"/>
                <a:gd name="connsiteY66" fmla="*/ 3006544 h 6858000"/>
                <a:gd name="connsiteX67" fmla="*/ 584625 w 8219860"/>
                <a:gd name="connsiteY67" fmla="*/ 3355571 h 6858000"/>
                <a:gd name="connsiteX68" fmla="*/ 589891 w 8219860"/>
                <a:gd name="connsiteY68" fmla="*/ 3705330 h 6858000"/>
                <a:gd name="connsiteX69" fmla="*/ 623389 w 8219860"/>
                <a:gd name="connsiteY69" fmla="*/ 4053626 h 6858000"/>
                <a:gd name="connsiteX70" fmla="*/ 787078 w 8219860"/>
                <a:gd name="connsiteY70" fmla="*/ 4735736 h 6858000"/>
                <a:gd name="connsiteX71" fmla="*/ 1081251 w 8219860"/>
                <a:gd name="connsiteY71" fmla="*/ 5376742 h 6858000"/>
                <a:gd name="connsiteX72" fmla="*/ 1274196 w 8219860"/>
                <a:gd name="connsiteY72" fmla="*/ 5674278 h 6858000"/>
                <a:gd name="connsiteX73" fmla="*/ 1381274 w 8219860"/>
                <a:gd name="connsiteY73" fmla="*/ 5816170 h 6858000"/>
                <a:gd name="connsiteX74" fmla="*/ 1495959 w 8219860"/>
                <a:gd name="connsiteY74" fmla="*/ 5953677 h 6858000"/>
                <a:gd name="connsiteX75" fmla="*/ 2013356 w 8219860"/>
                <a:gd name="connsiteY75" fmla="*/ 6450448 h 6858000"/>
                <a:gd name="connsiteX76" fmla="*/ 2083865 w 8219860"/>
                <a:gd name="connsiteY76" fmla="*/ 6506327 h 6858000"/>
                <a:gd name="connsiteX77" fmla="*/ 2155688 w 8219860"/>
                <a:gd name="connsiteY77" fmla="*/ 6560744 h 6858000"/>
                <a:gd name="connsiteX78" fmla="*/ 2228537 w 8219860"/>
                <a:gd name="connsiteY78" fmla="*/ 6613844 h 6858000"/>
                <a:gd name="connsiteX79" fmla="*/ 2302700 w 8219860"/>
                <a:gd name="connsiteY79" fmla="*/ 6665190 h 6858000"/>
                <a:gd name="connsiteX80" fmla="*/ 2610915 w 8219860"/>
                <a:gd name="connsiteY80" fmla="*/ 6853454 h 6858000"/>
                <a:gd name="connsiteX81" fmla="*/ 2619731 w 8219860"/>
                <a:gd name="connsiteY81" fmla="*/ 6858000 h 6858000"/>
                <a:gd name="connsiteX82" fmla="*/ 1931408 w 8219860"/>
                <a:gd name="connsiteY82" fmla="*/ 6858000 h 6858000"/>
                <a:gd name="connsiteX83" fmla="*/ 1782231 w 8219860"/>
                <a:gd name="connsiteY83" fmla="*/ 6759101 h 6858000"/>
                <a:gd name="connsiteX84" fmla="*/ 1179844 w 8219860"/>
                <a:gd name="connsiteY84" fmla="*/ 6247262 h 6858000"/>
                <a:gd name="connsiteX85" fmla="*/ 677221 w 8219860"/>
                <a:gd name="connsiteY85" fmla="*/ 5628784 h 6858000"/>
                <a:gd name="connsiteX86" fmla="*/ 302740 w 8219860"/>
                <a:gd name="connsiteY86" fmla="*/ 4919612 h 6858000"/>
                <a:gd name="connsiteX87" fmla="*/ 71615 w 8219860"/>
                <a:gd name="connsiteY87" fmla="*/ 4147685 h 6858000"/>
                <a:gd name="connsiteX88" fmla="*/ 14420 w 8219860"/>
                <a:gd name="connsiteY88" fmla="*/ 3747313 h 6858000"/>
                <a:gd name="connsiteX89" fmla="*/ 815 w 8219860"/>
                <a:gd name="connsiteY89" fmla="*/ 3342991 h 6858000"/>
                <a:gd name="connsiteX90" fmla="*/ 29340 w 8219860"/>
                <a:gd name="connsiteY90" fmla="*/ 2939692 h 6858000"/>
                <a:gd name="connsiteX91" fmla="*/ 97946 w 8219860"/>
                <a:gd name="connsiteY91" fmla="*/ 2541660 h 6858000"/>
                <a:gd name="connsiteX92" fmla="*/ 341358 w 8219860"/>
                <a:gd name="connsiteY92" fmla="*/ 1774268 h 6858000"/>
                <a:gd name="connsiteX93" fmla="*/ 1212758 w 8219860"/>
                <a:gd name="connsiteY93" fmla="*/ 432721 h 6858000"/>
                <a:gd name="connsiteX94" fmla="*/ 1499908 w 8219860"/>
                <a:gd name="connsiteY94" fmla="*/ 150982 h 6858000"/>
                <a:gd name="connsiteX95" fmla="*/ 1655863 w 8219860"/>
                <a:gd name="connsiteY95" fmla="*/ 2359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8219860" h="6858000">
                  <a:moveTo>
                    <a:pt x="5534366" y="0"/>
                  </a:moveTo>
                  <a:lnTo>
                    <a:pt x="6263243" y="0"/>
                  </a:lnTo>
                  <a:lnTo>
                    <a:pt x="6295307" y="21377"/>
                  </a:lnTo>
                  <a:cubicBezTo>
                    <a:pt x="6511218" y="172340"/>
                    <a:pt x="6716597" y="339247"/>
                    <a:pt x="6907056" y="522976"/>
                  </a:cubicBezTo>
                  <a:cubicBezTo>
                    <a:pt x="7097514" y="706706"/>
                    <a:pt x="7274807" y="905503"/>
                    <a:pt x="7434107" y="1119513"/>
                  </a:cubicBezTo>
                  <a:cubicBezTo>
                    <a:pt x="7593992" y="1333084"/>
                    <a:pt x="7735155" y="1562014"/>
                    <a:pt x="7856130" y="1802940"/>
                  </a:cubicBezTo>
                  <a:cubicBezTo>
                    <a:pt x="7916105" y="1923621"/>
                    <a:pt x="7970376" y="2047668"/>
                    <a:pt x="8019380" y="2174201"/>
                  </a:cubicBezTo>
                  <a:cubicBezTo>
                    <a:pt x="8031375" y="2205944"/>
                    <a:pt x="8043808" y="2237541"/>
                    <a:pt x="8054634" y="2269723"/>
                  </a:cubicBezTo>
                  <a:lnTo>
                    <a:pt x="8086962" y="2366562"/>
                  </a:lnTo>
                  <a:lnTo>
                    <a:pt x="8115633" y="2464717"/>
                  </a:lnTo>
                  <a:cubicBezTo>
                    <a:pt x="8124995" y="2497484"/>
                    <a:pt x="8132602" y="2530836"/>
                    <a:pt x="8140794" y="2563895"/>
                  </a:cubicBezTo>
                  <a:cubicBezTo>
                    <a:pt x="8203402" y="2829836"/>
                    <a:pt x="8225636" y="3105576"/>
                    <a:pt x="8218615" y="3378975"/>
                  </a:cubicBezTo>
                  <a:cubicBezTo>
                    <a:pt x="8214958" y="3515749"/>
                    <a:pt x="8200476" y="3652229"/>
                    <a:pt x="8175170" y="3786370"/>
                  </a:cubicBezTo>
                  <a:cubicBezTo>
                    <a:pt x="8149716" y="3920510"/>
                    <a:pt x="8114462" y="4052163"/>
                    <a:pt x="8073943" y="4180891"/>
                  </a:cubicBezTo>
                  <a:cubicBezTo>
                    <a:pt x="8033570" y="4309911"/>
                    <a:pt x="7990270" y="4435421"/>
                    <a:pt x="7939071" y="4562246"/>
                  </a:cubicBezTo>
                  <a:cubicBezTo>
                    <a:pt x="7913472" y="4625587"/>
                    <a:pt x="7885678" y="4688926"/>
                    <a:pt x="7854229" y="4751828"/>
                  </a:cubicBezTo>
                  <a:cubicBezTo>
                    <a:pt x="7822193" y="4814437"/>
                    <a:pt x="7786792" y="4876752"/>
                    <a:pt x="7745102" y="4936435"/>
                  </a:cubicBezTo>
                  <a:cubicBezTo>
                    <a:pt x="7703998" y="4996411"/>
                    <a:pt x="7657040" y="5053899"/>
                    <a:pt x="7605403" y="5106852"/>
                  </a:cubicBezTo>
                  <a:cubicBezTo>
                    <a:pt x="7579512" y="5133183"/>
                    <a:pt x="7552596" y="5158489"/>
                    <a:pt x="7524949" y="5182481"/>
                  </a:cubicBezTo>
                  <a:cubicBezTo>
                    <a:pt x="7497301" y="5206323"/>
                    <a:pt x="7468776" y="5228704"/>
                    <a:pt x="7440106" y="5250208"/>
                  </a:cubicBezTo>
                  <a:cubicBezTo>
                    <a:pt x="7324836" y="5335930"/>
                    <a:pt x="7208103" y="5400146"/>
                    <a:pt x="7101758" y="5463633"/>
                  </a:cubicBezTo>
                  <a:cubicBezTo>
                    <a:pt x="6994825" y="5526533"/>
                    <a:pt x="6896230" y="5588996"/>
                    <a:pt x="6804366" y="5657895"/>
                  </a:cubicBezTo>
                  <a:cubicBezTo>
                    <a:pt x="6758141" y="5691978"/>
                    <a:pt x="6713965" y="5728110"/>
                    <a:pt x="6671103" y="5765704"/>
                  </a:cubicBezTo>
                  <a:cubicBezTo>
                    <a:pt x="6627952" y="5802860"/>
                    <a:pt x="6586408" y="5842209"/>
                    <a:pt x="6545887" y="5882583"/>
                  </a:cubicBezTo>
                  <a:cubicBezTo>
                    <a:pt x="6525407" y="5903062"/>
                    <a:pt x="6506245" y="5923103"/>
                    <a:pt x="6485473" y="5945046"/>
                  </a:cubicBezTo>
                  <a:lnTo>
                    <a:pt x="6423303" y="6011604"/>
                  </a:lnTo>
                  <a:lnTo>
                    <a:pt x="6298672" y="6146768"/>
                  </a:lnTo>
                  <a:cubicBezTo>
                    <a:pt x="6214853" y="6237315"/>
                    <a:pt x="6128400" y="6327572"/>
                    <a:pt x="6040923" y="6418997"/>
                  </a:cubicBezTo>
                  <a:cubicBezTo>
                    <a:pt x="5997186" y="6464637"/>
                    <a:pt x="5952569" y="6510130"/>
                    <a:pt x="5907662" y="6555769"/>
                  </a:cubicBezTo>
                  <a:cubicBezTo>
                    <a:pt x="5862460" y="6601118"/>
                    <a:pt x="5816528" y="6646172"/>
                    <a:pt x="5769864" y="6691081"/>
                  </a:cubicBezTo>
                  <a:lnTo>
                    <a:pt x="5581270" y="6858000"/>
                  </a:lnTo>
                  <a:lnTo>
                    <a:pt x="5057635" y="6858000"/>
                  </a:lnTo>
                  <a:lnTo>
                    <a:pt x="5112401" y="6812805"/>
                  </a:lnTo>
                  <a:cubicBezTo>
                    <a:pt x="5156505" y="6773364"/>
                    <a:pt x="5199439" y="6732113"/>
                    <a:pt x="5241495" y="6689617"/>
                  </a:cubicBezTo>
                  <a:cubicBezTo>
                    <a:pt x="5325753" y="6604628"/>
                    <a:pt x="5405916" y="6513934"/>
                    <a:pt x="5485639" y="6421192"/>
                  </a:cubicBezTo>
                  <a:cubicBezTo>
                    <a:pt x="5525427" y="6374674"/>
                    <a:pt x="5564631" y="6327425"/>
                    <a:pt x="5603981" y="6279592"/>
                  </a:cubicBezTo>
                  <a:lnTo>
                    <a:pt x="5722615" y="6135503"/>
                  </a:lnTo>
                  <a:cubicBezTo>
                    <a:pt x="5802339" y="6038957"/>
                    <a:pt x="5882062" y="5940510"/>
                    <a:pt x="5967636" y="5845135"/>
                  </a:cubicBezTo>
                  <a:cubicBezTo>
                    <a:pt x="6010496" y="5797446"/>
                    <a:pt x="6054381" y="5750345"/>
                    <a:pt x="6099583" y="5703828"/>
                  </a:cubicBezTo>
                  <a:lnTo>
                    <a:pt x="6168189" y="5634490"/>
                  </a:lnTo>
                  <a:cubicBezTo>
                    <a:pt x="6191300" y="5611524"/>
                    <a:pt x="6216754" y="5587094"/>
                    <a:pt x="6241769" y="5564129"/>
                  </a:cubicBezTo>
                  <a:cubicBezTo>
                    <a:pt x="6342117" y="5470948"/>
                    <a:pt x="6452414" y="5386688"/>
                    <a:pt x="6567684" y="5312962"/>
                  </a:cubicBezTo>
                  <a:cubicBezTo>
                    <a:pt x="6682806" y="5238945"/>
                    <a:pt x="6803635" y="5177360"/>
                    <a:pt x="6918466" y="5121628"/>
                  </a:cubicBezTo>
                  <a:cubicBezTo>
                    <a:pt x="6975808" y="5093833"/>
                    <a:pt x="7031688" y="5067211"/>
                    <a:pt x="7084202" y="5039856"/>
                  </a:cubicBezTo>
                  <a:cubicBezTo>
                    <a:pt x="7136864" y="5012793"/>
                    <a:pt x="7186453" y="4985439"/>
                    <a:pt x="7231508" y="4955159"/>
                  </a:cubicBezTo>
                  <a:cubicBezTo>
                    <a:pt x="7322202" y="4895476"/>
                    <a:pt x="7395635" y="4824530"/>
                    <a:pt x="7455757" y="4736907"/>
                  </a:cubicBezTo>
                  <a:cubicBezTo>
                    <a:pt x="7515440" y="4649431"/>
                    <a:pt x="7562543" y="4547326"/>
                    <a:pt x="7597796" y="4437761"/>
                  </a:cubicBezTo>
                  <a:cubicBezTo>
                    <a:pt x="7632758" y="4328343"/>
                    <a:pt x="7655139" y="4210293"/>
                    <a:pt x="7667720" y="4093562"/>
                  </a:cubicBezTo>
                  <a:cubicBezTo>
                    <a:pt x="7679860" y="3976389"/>
                    <a:pt x="7682494" y="3858925"/>
                    <a:pt x="7680008" y="3742632"/>
                  </a:cubicBezTo>
                  <a:cubicBezTo>
                    <a:pt x="7676350" y="3626192"/>
                    <a:pt x="7668451" y="3510776"/>
                    <a:pt x="7657188" y="3396237"/>
                  </a:cubicBezTo>
                  <a:cubicBezTo>
                    <a:pt x="7645923" y="3281699"/>
                    <a:pt x="7628808" y="3167745"/>
                    <a:pt x="7604818" y="3055255"/>
                  </a:cubicBezTo>
                  <a:cubicBezTo>
                    <a:pt x="7581120" y="2942618"/>
                    <a:pt x="7552888" y="2831298"/>
                    <a:pt x="7522900" y="2720270"/>
                  </a:cubicBezTo>
                  <a:cubicBezTo>
                    <a:pt x="7462926" y="2498361"/>
                    <a:pt x="7392418" y="2277038"/>
                    <a:pt x="7299968" y="2062442"/>
                  </a:cubicBezTo>
                  <a:cubicBezTo>
                    <a:pt x="7207518" y="1847847"/>
                    <a:pt x="7097514" y="1639104"/>
                    <a:pt x="6971566" y="1438698"/>
                  </a:cubicBezTo>
                  <a:cubicBezTo>
                    <a:pt x="6908226" y="1338642"/>
                    <a:pt x="6841668" y="1240340"/>
                    <a:pt x="6771307" y="1144380"/>
                  </a:cubicBezTo>
                  <a:cubicBezTo>
                    <a:pt x="6700945" y="1048419"/>
                    <a:pt x="6625903" y="955677"/>
                    <a:pt x="6547935" y="865129"/>
                  </a:cubicBezTo>
                  <a:cubicBezTo>
                    <a:pt x="6392438" y="683740"/>
                    <a:pt x="6221873" y="514199"/>
                    <a:pt x="6037997" y="359872"/>
                  </a:cubicBezTo>
                  <a:cubicBezTo>
                    <a:pt x="5900420" y="243689"/>
                    <a:pt x="5754861" y="136638"/>
                    <a:pt x="5602369" y="40572"/>
                  </a:cubicBezTo>
                  <a:close/>
                  <a:moveTo>
                    <a:pt x="1689206" y="0"/>
                  </a:moveTo>
                  <a:lnTo>
                    <a:pt x="2580244" y="0"/>
                  </a:lnTo>
                  <a:lnTo>
                    <a:pt x="2556490" y="13997"/>
                  </a:lnTo>
                  <a:cubicBezTo>
                    <a:pt x="2405637" y="107875"/>
                    <a:pt x="2262108" y="212018"/>
                    <a:pt x="2125407" y="323156"/>
                  </a:cubicBezTo>
                  <a:cubicBezTo>
                    <a:pt x="2033982" y="397174"/>
                    <a:pt x="1946944" y="475874"/>
                    <a:pt x="1859322" y="553842"/>
                  </a:cubicBezTo>
                  <a:cubicBezTo>
                    <a:pt x="1771699" y="631664"/>
                    <a:pt x="1686271" y="712557"/>
                    <a:pt x="1607425" y="799741"/>
                  </a:cubicBezTo>
                  <a:cubicBezTo>
                    <a:pt x="1289847" y="1146281"/>
                    <a:pt x="1036342" y="1551627"/>
                    <a:pt x="861829" y="1987400"/>
                  </a:cubicBezTo>
                  <a:cubicBezTo>
                    <a:pt x="774499" y="2205213"/>
                    <a:pt x="707062" y="2430780"/>
                    <a:pt x="661422" y="2660149"/>
                  </a:cubicBezTo>
                  <a:cubicBezTo>
                    <a:pt x="638750" y="2774834"/>
                    <a:pt x="621196" y="2890541"/>
                    <a:pt x="608323" y="3006544"/>
                  </a:cubicBezTo>
                  <a:cubicBezTo>
                    <a:pt x="595888" y="3122545"/>
                    <a:pt x="587990" y="3239131"/>
                    <a:pt x="584625" y="3355571"/>
                  </a:cubicBezTo>
                  <a:cubicBezTo>
                    <a:pt x="581699" y="3472156"/>
                    <a:pt x="582578" y="3588890"/>
                    <a:pt x="589891" y="3705330"/>
                  </a:cubicBezTo>
                  <a:cubicBezTo>
                    <a:pt x="595742" y="3821770"/>
                    <a:pt x="607591" y="3937917"/>
                    <a:pt x="623389" y="4053626"/>
                  </a:cubicBezTo>
                  <a:cubicBezTo>
                    <a:pt x="655864" y="4284896"/>
                    <a:pt x="709988" y="4513828"/>
                    <a:pt x="787078" y="4735736"/>
                  </a:cubicBezTo>
                  <a:cubicBezTo>
                    <a:pt x="864023" y="4957499"/>
                    <a:pt x="962324" y="5172825"/>
                    <a:pt x="1081251" y="5376742"/>
                  </a:cubicBezTo>
                  <a:cubicBezTo>
                    <a:pt x="1140934" y="5478553"/>
                    <a:pt x="1205152" y="5578172"/>
                    <a:pt x="1274196" y="5674278"/>
                  </a:cubicBezTo>
                  <a:cubicBezTo>
                    <a:pt x="1308571" y="5722552"/>
                    <a:pt x="1344557" y="5769654"/>
                    <a:pt x="1381274" y="5816170"/>
                  </a:cubicBezTo>
                  <a:cubicBezTo>
                    <a:pt x="1418575" y="5862543"/>
                    <a:pt x="1456608" y="5908622"/>
                    <a:pt x="1495959" y="5953677"/>
                  </a:cubicBezTo>
                  <a:cubicBezTo>
                    <a:pt x="1652919" y="6133894"/>
                    <a:pt x="1826555" y="6300071"/>
                    <a:pt x="2013356" y="6450448"/>
                  </a:cubicBezTo>
                  <a:cubicBezTo>
                    <a:pt x="2037053" y="6468879"/>
                    <a:pt x="2060020" y="6488188"/>
                    <a:pt x="2083865" y="6506327"/>
                  </a:cubicBezTo>
                  <a:lnTo>
                    <a:pt x="2155688" y="6560744"/>
                  </a:lnTo>
                  <a:lnTo>
                    <a:pt x="2228537" y="6613844"/>
                  </a:lnTo>
                  <a:lnTo>
                    <a:pt x="2302700" y="6665190"/>
                  </a:lnTo>
                  <a:cubicBezTo>
                    <a:pt x="2402465" y="6732186"/>
                    <a:pt x="2505008" y="6795525"/>
                    <a:pt x="2610915" y="6853454"/>
                  </a:cubicBezTo>
                  <a:lnTo>
                    <a:pt x="2619731" y="6858000"/>
                  </a:lnTo>
                  <a:lnTo>
                    <a:pt x="1931408" y="6858000"/>
                  </a:lnTo>
                  <a:lnTo>
                    <a:pt x="1782231" y="6759101"/>
                  </a:lnTo>
                  <a:cubicBezTo>
                    <a:pt x="1566612" y="6607846"/>
                    <a:pt x="1365329" y="6435527"/>
                    <a:pt x="1179844" y="6247262"/>
                  </a:cubicBezTo>
                  <a:cubicBezTo>
                    <a:pt x="994506" y="6059437"/>
                    <a:pt x="824235" y="5851280"/>
                    <a:pt x="677221" y="5628784"/>
                  </a:cubicBezTo>
                  <a:cubicBezTo>
                    <a:pt x="530062" y="5405851"/>
                    <a:pt x="404700" y="5167998"/>
                    <a:pt x="302740" y="4919612"/>
                  </a:cubicBezTo>
                  <a:cubicBezTo>
                    <a:pt x="200636" y="4671373"/>
                    <a:pt x="123692" y="4412162"/>
                    <a:pt x="71615" y="4147685"/>
                  </a:cubicBezTo>
                  <a:cubicBezTo>
                    <a:pt x="45285" y="4015446"/>
                    <a:pt x="26854" y="3881599"/>
                    <a:pt x="14420" y="3747313"/>
                  </a:cubicBezTo>
                  <a:cubicBezTo>
                    <a:pt x="3595" y="3612880"/>
                    <a:pt x="-2256" y="3477862"/>
                    <a:pt x="815" y="3342991"/>
                  </a:cubicBezTo>
                  <a:cubicBezTo>
                    <a:pt x="3156" y="3208119"/>
                    <a:pt x="12811" y="3073394"/>
                    <a:pt x="29340" y="2939692"/>
                  </a:cubicBezTo>
                  <a:cubicBezTo>
                    <a:pt x="45578" y="2805845"/>
                    <a:pt x="68690" y="2673022"/>
                    <a:pt x="97946" y="2541660"/>
                  </a:cubicBezTo>
                  <a:cubicBezTo>
                    <a:pt x="156167" y="2278939"/>
                    <a:pt x="237791" y="2021777"/>
                    <a:pt x="341358" y="1774268"/>
                  </a:cubicBezTo>
                  <a:cubicBezTo>
                    <a:pt x="548640" y="1279252"/>
                    <a:pt x="844567" y="822415"/>
                    <a:pt x="1212758" y="432721"/>
                  </a:cubicBezTo>
                  <a:cubicBezTo>
                    <a:pt x="1305208" y="335736"/>
                    <a:pt x="1399705" y="240506"/>
                    <a:pt x="1499908" y="150982"/>
                  </a:cubicBezTo>
                  <a:cubicBezTo>
                    <a:pt x="1550010" y="106294"/>
                    <a:pt x="1602232" y="64018"/>
                    <a:pt x="1655863" y="2359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 useBgFill="1">
          <p:nvSpPr>
            <p:cNvPr id="14" name="Freeform: Shape 13">
              <a:extLst>
                <a:ext uri="{FF2B5EF4-FFF2-40B4-BE49-F238E27FC236}">
                  <a16:creationId xmlns:a16="http://schemas.microsoft.com/office/drawing/2014/main" id="{EC2EF310-93E6-4F72-B482-07BF5CFBB0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65807" y="-3810"/>
              <a:ext cx="8870393" cy="6858000"/>
            </a:xfrm>
            <a:custGeom>
              <a:avLst/>
              <a:gdLst>
                <a:gd name="connsiteX0" fmla="*/ 6200652 w 8899328"/>
                <a:gd name="connsiteY0" fmla="*/ 0 h 6858000"/>
                <a:gd name="connsiteX1" fmla="*/ 7036991 w 8899328"/>
                <a:gd name="connsiteY1" fmla="*/ 0 h 6858000"/>
                <a:gd name="connsiteX2" fmla="*/ 7111956 w 8899328"/>
                <a:gd name="connsiteY2" fmla="*/ 52444 h 6858000"/>
                <a:gd name="connsiteX3" fmla="*/ 8899328 w 8899328"/>
                <a:gd name="connsiteY3" fmla="*/ 3560285 h 6858000"/>
                <a:gd name="connsiteX4" fmla="*/ 7441506 w 8899328"/>
                <a:gd name="connsiteY4" fmla="*/ 6800585 h 6858000"/>
                <a:gd name="connsiteX5" fmla="*/ 7374130 w 8899328"/>
                <a:gd name="connsiteY5" fmla="*/ 6858000 h 6858000"/>
                <a:gd name="connsiteX6" fmla="*/ 5835221 w 8899328"/>
                <a:gd name="connsiteY6" fmla="*/ 6858000 h 6858000"/>
                <a:gd name="connsiteX7" fmla="*/ 5891385 w 8899328"/>
                <a:gd name="connsiteY7" fmla="*/ 6810175 h 6858000"/>
                <a:gd name="connsiteX8" fmla="*/ 6032854 w 8899328"/>
                <a:gd name="connsiteY8" fmla="*/ 6677494 h 6858000"/>
                <a:gd name="connsiteX9" fmla="*/ 6170584 w 8899328"/>
                <a:gd name="connsiteY9" fmla="*/ 6539762 h 6858000"/>
                <a:gd name="connsiteX10" fmla="*/ 6305296 w 8899328"/>
                <a:gd name="connsiteY10" fmla="*/ 6398150 h 6858000"/>
                <a:gd name="connsiteX11" fmla="*/ 6572709 w 8899328"/>
                <a:gd name="connsiteY11" fmla="*/ 6110468 h 6858000"/>
                <a:gd name="connsiteX12" fmla="*/ 6707707 w 8899328"/>
                <a:gd name="connsiteY12" fmla="*/ 5966410 h 6858000"/>
                <a:gd name="connsiteX13" fmla="*/ 6846876 w 8899328"/>
                <a:gd name="connsiteY13" fmla="*/ 5823934 h 6858000"/>
                <a:gd name="connsiteX14" fmla="*/ 7497863 w 8899328"/>
                <a:gd name="connsiteY14" fmla="*/ 5348633 h 6858000"/>
                <a:gd name="connsiteX15" fmla="*/ 7825226 w 8899328"/>
                <a:gd name="connsiteY15" fmla="*/ 5147788 h 6858000"/>
                <a:gd name="connsiteX16" fmla="*/ 8071216 w 8899328"/>
                <a:gd name="connsiteY16" fmla="*/ 4893890 h 6858000"/>
                <a:gd name="connsiteX17" fmla="*/ 8224043 w 8899328"/>
                <a:gd name="connsiteY17" fmla="*/ 4570985 h 6858000"/>
                <a:gd name="connsiteX18" fmla="*/ 8315049 w 8899328"/>
                <a:gd name="connsiteY18" fmla="*/ 4212279 h 6858000"/>
                <a:gd name="connsiteX19" fmla="*/ 8330721 w 8899328"/>
                <a:gd name="connsiteY19" fmla="*/ 4120699 h 6858000"/>
                <a:gd name="connsiteX20" fmla="*/ 8343947 w 8899328"/>
                <a:gd name="connsiteY20" fmla="*/ 4028973 h 6858000"/>
                <a:gd name="connsiteX21" fmla="*/ 8353867 w 8899328"/>
                <a:gd name="connsiteY21" fmla="*/ 3936961 h 6858000"/>
                <a:gd name="connsiteX22" fmla="*/ 8361055 w 8899328"/>
                <a:gd name="connsiteY22" fmla="*/ 3844661 h 6858000"/>
                <a:gd name="connsiteX23" fmla="*/ 8365083 w 8899328"/>
                <a:gd name="connsiteY23" fmla="*/ 3475748 h 6858000"/>
                <a:gd name="connsiteX24" fmla="*/ 8359475 w 8899328"/>
                <a:gd name="connsiteY24" fmla="*/ 3383736 h 6858000"/>
                <a:gd name="connsiteX25" fmla="*/ 8350992 w 8899328"/>
                <a:gd name="connsiteY25" fmla="*/ 3292012 h 6858000"/>
                <a:gd name="connsiteX26" fmla="*/ 8340497 w 8899328"/>
                <a:gd name="connsiteY26" fmla="*/ 3200431 h 6858000"/>
                <a:gd name="connsiteX27" fmla="*/ 8327557 w 8899328"/>
                <a:gd name="connsiteY27" fmla="*/ 3109137 h 6858000"/>
                <a:gd name="connsiteX28" fmla="*/ 8252222 w 8899328"/>
                <a:gd name="connsiteY28" fmla="*/ 2747843 h 6858000"/>
                <a:gd name="connsiteX29" fmla="*/ 7998038 w 8899328"/>
                <a:gd name="connsiteY29" fmla="*/ 2051137 h 6858000"/>
                <a:gd name="connsiteX30" fmla="*/ 7825803 w 8899328"/>
                <a:gd name="connsiteY30" fmla="*/ 1719174 h 6858000"/>
                <a:gd name="connsiteX31" fmla="*/ 7627401 w 8899328"/>
                <a:gd name="connsiteY31" fmla="*/ 1399431 h 6858000"/>
                <a:gd name="connsiteX32" fmla="*/ 7404557 w 8899328"/>
                <a:gd name="connsiteY32" fmla="*/ 1093490 h 6858000"/>
                <a:gd name="connsiteX33" fmla="*/ 7157849 w 8899328"/>
                <a:gd name="connsiteY33" fmla="*/ 803362 h 6858000"/>
                <a:gd name="connsiteX34" fmla="*/ 6889001 w 8899328"/>
                <a:gd name="connsiteY34" fmla="*/ 530489 h 6858000"/>
                <a:gd name="connsiteX35" fmla="*/ 6597149 w 8899328"/>
                <a:gd name="connsiteY35" fmla="*/ 279180 h 6858000"/>
                <a:gd name="connsiteX36" fmla="*/ 6283731 w 8899328"/>
                <a:gd name="connsiteY36" fmla="*/ 51736 h 6858000"/>
                <a:gd name="connsiteX37" fmla="*/ 1862338 w 8899328"/>
                <a:gd name="connsiteY37" fmla="*/ 0 h 6858000"/>
                <a:gd name="connsiteX38" fmla="*/ 2555184 w 8899328"/>
                <a:gd name="connsiteY38" fmla="*/ 0 h 6858000"/>
                <a:gd name="connsiteX39" fmla="*/ 2420890 w 8899328"/>
                <a:gd name="connsiteY39" fmla="*/ 86030 h 6858000"/>
                <a:gd name="connsiteX40" fmla="*/ 1703381 w 8899328"/>
                <a:gd name="connsiteY40" fmla="*/ 715375 h 6858000"/>
                <a:gd name="connsiteX41" fmla="*/ 923719 w 8899328"/>
                <a:gd name="connsiteY41" fmla="*/ 1986010 h 6858000"/>
                <a:gd name="connsiteX42" fmla="*/ 717122 w 8899328"/>
                <a:gd name="connsiteY42" fmla="*/ 2694936 h 6858000"/>
                <a:gd name="connsiteX43" fmla="*/ 646244 w 8899328"/>
                <a:gd name="connsiteY43" fmla="*/ 3427730 h 6858000"/>
                <a:gd name="connsiteX44" fmla="*/ 707346 w 8899328"/>
                <a:gd name="connsiteY44" fmla="*/ 4160522 h 6858000"/>
                <a:gd name="connsiteX45" fmla="*/ 902872 w 8899328"/>
                <a:gd name="connsiteY45" fmla="*/ 4869880 h 6858000"/>
                <a:gd name="connsiteX46" fmla="*/ 1677359 w 8899328"/>
                <a:gd name="connsiteY46" fmla="*/ 6124701 h 6858000"/>
                <a:gd name="connsiteX47" fmla="*/ 2547624 w 8899328"/>
                <a:gd name="connsiteY47" fmla="*/ 6829930 h 6858000"/>
                <a:gd name="connsiteX48" fmla="*/ 2596857 w 8899328"/>
                <a:gd name="connsiteY48" fmla="*/ 6858000 h 6858000"/>
                <a:gd name="connsiteX49" fmla="*/ 1525198 w 8899328"/>
                <a:gd name="connsiteY49" fmla="*/ 6858000 h 6858000"/>
                <a:gd name="connsiteX50" fmla="*/ 1457823 w 8899328"/>
                <a:gd name="connsiteY50" fmla="*/ 6800585 h 6858000"/>
                <a:gd name="connsiteX51" fmla="*/ 0 w 8899328"/>
                <a:gd name="connsiteY51" fmla="*/ 3560285 h 6858000"/>
                <a:gd name="connsiteX52" fmla="*/ 1787372 w 8899328"/>
                <a:gd name="connsiteY52" fmla="*/ 5244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899328" h="6858000">
                  <a:moveTo>
                    <a:pt x="6200652" y="0"/>
                  </a:moveTo>
                  <a:lnTo>
                    <a:pt x="7036991" y="0"/>
                  </a:lnTo>
                  <a:lnTo>
                    <a:pt x="7111956" y="52444"/>
                  </a:lnTo>
                  <a:cubicBezTo>
                    <a:pt x="8196995" y="850732"/>
                    <a:pt x="8899328" y="2124819"/>
                    <a:pt x="8899328" y="3560285"/>
                  </a:cubicBezTo>
                  <a:cubicBezTo>
                    <a:pt x="8899328" y="4844649"/>
                    <a:pt x="8337073" y="5999820"/>
                    <a:pt x="7441506" y="6800585"/>
                  </a:cubicBezTo>
                  <a:lnTo>
                    <a:pt x="7374130" y="6858000"/>
                  </a:lnTo>
                  <a:lnTo>
                    <a:pt x="5835221" y="6858000"/>
                  </a:lnTo>
                  <a:lnTo>
                    <a:pt x="5891385" y="6810175"/>
                  </a:lnTo>
                  <a:cubicBezTo>
                    <a:pt x="5939440" y="6767098"/>
                    <a:pt x="5986561" y="6722781"/>
                    <a:pt x="6032854" y="6677494"/>
                  </a:cubicBezTo>
                  <a:cubicBezTo>
                    <a:pt x="6079290" y="6632350"/>
                    <a:pt x="6125297" y="6586487"/>
                    <a:pt x="6170584" y="6539762"/>
                  </a:cubicBezTo>
                  <a:cubicBezTo>
                    <a:pt x="6215872" y="6493038"/>
                    <a:pt x="6260585" y="6445738"/>
                    <a:pt x="6305296" y="6398150"/>
                  </a:cubicBezTo>
                  <a:cubicBezTo>
                    <a:pt x="6394865" y="6303119"/>
                    <a:pt x="6483283" y="6206649"/>
                    <a:pt x="6572709" y="6110468"/>
                  </a:cubicBezTo>
                  <a:lnTo>
                    <a:pt x="6707707" y="5966410"/>
                  </a:lnTo>
                  <a:cubicBezTo>
                    <a:pt x="6752995" y="5918535"/>
                    <a:pt x="6798426" y="5871090"/>
                    <a:pt x="6846876" y="5823934"/>
                  </a:cubicBezTo>
                  <a:cubicBezTo>
                    <a:pt x="7037227" y="5634303"/>
                    <a:pt x="7265821" y="5478169"/>
                    <a:pt x="7497863" y="5348633"/>
                  </a:cubicBezTo>
                  <a:cubicBezTo>
                    <a:pt x="7612735" y="5282499"/>
                    <a:pt x="7726745" y="5220534"/>
                    <a:pt x="7825226" y="5147788"/>
                  </a:cubicBezTo>
                  <a:cubicBezTo>
                    <a:pt x="7924139" y="5075471"/>
                    <a:pt x="8006807" y="4992085"/>
                    <a:pt x="8071216" y="4893890"/>
                  </a:cubicBezTo>
                  <a:cubicBezTo>
                    <a:pt x="8136631" y="4796702"/>
                    <a:pt x="8185081" y="4686430"/>
                    <a:pt x="8224043" y="4570985"/>
                  </a:cubicBezTo>
                  <a:cubicBezTo>
                    <a:pt x="8263005" y="4455537"/>
                    <a:pt x="8292046" y="4334053"/>
                    <a:pt x="8315049" y="4212279"/>
                  </a:cubicBezTo>
                  <a:cubicBezTo>
                    <a:pt x="8320225" y="4181657"/>
                    <a:pt x="8326407" y="4151321"/>
                    <a:pt x="8330721" y="4120699"/>
                  </a:cubicBezTo>
                  <a:lnTo>
                    <a:pt x="8343947" y="4028973"/>
                  </a:lnTo>
                  <a:lnTo>
                    <a:pt x="8353867" y="3936961"/>
                  </a:lnTo>
                  <a:cubicBezTo>
                    <a:pt x="8357605" y="3906338"/>
                    <a:pt x="8358468" y="3875427"/>
                    <a:pt x="8361055" y="3844661"/>
                  </a:cubicBezTo>
                  <a:cubicBezTo>
                    <a:pt x="8369825" y="3721738"/>
                    <a:pt x="8369969" y="3598527"/>
                    <a:pt x="8365083" y="3475748"/>
                  </a:cubicBezTo>
                  <a:lnTo>
                    <a:pt x="8359475" y="3383736"/>
                  </a:lnTo>
                  <a:cubicBezTo>
                    <a:pt x="8357031" y="3353114"/>
                    <a:pt x="8353723" y="3322634"/>
                    <a:pt x="8350992" y="3292012"/>
                  </a:cubicBezTo>
                  <a:cubicBezTo>
                    <a:pt x="8348549" y="3261388"/>
                    <a:pt x="8343947" y="3230909"/>
                    <a:pt x="8340497" y="3200431"/>
                  </a:cubicBezTo>
                  <a:cubicBezTo>
                    <a:pt x="8337333" y="3169807"/>
                    <a:pt x="8332301" y="3139471"/>
                    <a:pt x="8327557" y="3109137"/>
                  </a:cubicBezTo>
                  <a:cubicBezTo>
                    <a:pt x="8308293" y="2987651"/>
                    <a:pt x="8283133" y="2867173"/>
                    <a:pt x="8252222" y="2747843"/>
                  </a:cubicBezTo>
                  <a:cubicBezTo>
                    <a:pt x="8188963" y="2509618"/>
                    <a:pt x="8103565" y="2276424"/>
                    <a:pt x="7998038" y="2051137"/>
                  </a:cubicBezTo>
                  <a:cubicBezTo>
                    <a:pt x="7945131" y="1938709"/>
                    <a:pt x="7887767" y="1827864"/>
                    <a:pt x="7825803" y="1719174"/>
                  </a:cubicBezTo>
                  <a:cubicBezTo>
                    <a:pt x="7764413" y="1610196"/>
                    <a:pt x="7697704" y="1503807"/>
                    <a:pt x="7627401" y="1399431"/>
                  </a:cubicBezTo>
                  <a:cubicBezTo>
                    <a:pt x="7557241" y="1295054"/>
                    <a:pt x="7482337" y="1193408"/>
                    <a:pt x="7404557" y="1093490"/>
                  </a:cubicBezTo>
                  <a:cubicBezTo>
                    <a:pt x="7326203" y="994145"/>
                    <a:pt x="7243824" y="897388"/>
                    <a:pt x="7157849" y="803362"/>
                  </a:cubicBezTo>
                  <a:cubicBezTo>
                    <a:pt x="7071731" y="709624"/>
                    <a:pt x="6982739" y="617755"/>
                    <a:pt x="6889001" y="530489"/>
                  </a:cubicBezTo>
                  <a:cubicBezTo>
                    <a:pt x="6795407" y="443077"/>
                    <a:pt x="6698076" y="359115"/>
                    <a:pt x="6597149" y="279180"/>
                  </a:cubicBezTo>
                  <a:cubicBezTo>
                    <a:pt x="6496223" y="199244"/>
                    <a:pt x="6391846" y="122902"/>
                    <a:pt x="6283731" y="51736"/>
                  </a:cubicBezTo>
                  <a:close/>
                  <a:moveTo>
                    <a:pt x="1862338" y="0"/>
                  </a:moveTo>
                  <a:lnTo>
                    <a:pt x="2555184" y="0"/>
                  </a:lnTo>
                  <a:lnTo>
                    <a:pt x="2420890" y="86030"/>
                  </a:lnTo>
                  <a:cubicBezTo>
                    <a:pt x="2154693" y="266478"/>
                    <a:pt x="1913733" y="479863"/>
                    <a:pt x="1703381" y="715375"/>
                  </a:cubicBezTo>
                  <a:cubicBezTo>
                    <a:pt x="1365810" y="1092339"/>
                    <a:pt x="1104149" y="1525660"/>
                    <a:pt x="923719" y="1986010"/>
                  </a:cubicBezTo>
                  <a:cubicBezTo>
                    <a:pt x="833720" y="2216041"/>
                    <a:pt x="763129" y="2453260"/>
                    <a:pt x="717122" y="2694936"/>
                  </a:cubicBezTo>
                  <a:cubicBezTo>
                    <a:pt x="671259" y="2936614"/>
                    <a:pt x="647538" y="3182027"/>
                    <a:pt x="646244" y="3427730"/>
                  </a:cubicBezTo>
                  <a:cubicBezTo>
                    <a:pt x="644376" y="3673432"/>
                    <a:pt x="665077" y="3918845"/>
                    <a:pt x="707346" y="4160522"/>
                  </a:cubicBezTo>
                  <a:cubicBezTo>
                    <a:pt x="749183" y="4402342"/>
                    <a:pt x="816035" y="4639849"/>
                    <a:pt x="902872" y="4869880"/>
                  </a:cubicBezTo>
                  <a:cubicBezTo>
                    <a:pt x="1077984" y="5329367"/>
                    <a:pt x="1339500" y="5759239"/>
                    <a:pt x="1677359" y="6124701"/>
                  </a:cubicBezTo>
                  <a:cubicBezTo>
                    <a:pt x="1930752" y="6398797"/>
                    <a:pt x="2225066" y="6636097"/>
                    <a:pt x="2547624" y="6829930"/>
                  </a:cubicBezTo>
                  <a:lnTo>
                    <a:pt x="2596857" y="6858000"/>
                  </a:lnTo>
                  <a:lnTo>
                    <a:pt x="1525198" y="6858000"/>
                  </a:lnTo>
                  <a:lnTo>
                    <a:pt x="1457823" y="6800585"/>
                  </a:lnTo>
                  <a:cubicBezTo>
                    <a:pt x="562255" y="5999820"/>
                    <a:pt x="0" y="4844649"/>
                    <a:pt x="0" y="3560285"/>
                  </a:cubicBezTo>
                  <a:cubicBezTo>
                    <a:pt x="0" y="2124819"/>
                    <a:pt x="702333" y="850732"/>
                    <a:pt x="1787372" y="52444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 useBgFill="1"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0AB910-B0C2-495C-AFD9-34F51C9D450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-3810"/>
              <a:ext cx="12192000" cy="6858000"/>
            </a:xfrm>
            <a:custGeom>
              <a:avLst/>
              <a:gdLst>
                <a:gd name="connsiteX0" fmla="*/ 8201697 w 12192000"/>
                <a:gd name="connsiteY0" fmla="*/ 0 h 6858001"/>
                <a:gd name="connsiteX1" fmla="*/ 12192000 w 12192000"/>
                <a:gd name="connsiteY1" fmla="*/ 0 h 6858001"/>
                <a:gd name="connsiteX2" fmla="*/ 12192000 w 12192000"/>
                <a:gd name="connsiteY2" fmla="*/ 6858001 h 6858001"/>
                <a:gd name="connsiteX3" fmla="*/ 8460487 w 12192000"/>
                <a:gd name="connsiteY3" fmla="*/ 6858001 h 6858001"/>
                <a:gd name="connsiteX4" fmla="*/ 8553921 w 12192000"/>
                <a:gd name="connsiteY4" fmla="*/ 6784577 h 6858001"/>
                <a:gd name="connsiteX5" fmla="*/ 10092281 w 12192000"/>
                <a:gd name="connsiteY5" fmla="*/ 3522553 h 6858001"/>
                <a:gd name="connsiteX6" fmla="*/ 8228486 w 12192000"/>
                <a:gd name="connsiteY6" fmla="*/ 17174 h 6858001"/>
                <a:gd name="connsiteX7" fmla="*/ 0 w 12192000"/>
                <a:gd name="connsiteY7" fmla="*/ 0 h 6858001"/>
                <a:gd name="connsiteX8" fmla="*/ 3528179 w 12192000"/>
                <a:gd name="connsiteY8" fmla="*/ 0 h 6858001"/>
                <a:gd name="connsiteX9" fmla="*/ 3501391 w 12192000"/>
                <a:gd name="connsiteY9" fmla="*/ 17174 h 6858001"/>
                <a:gd name="connsiteX10" fmla="*/ 1637595 w 12192000"/>
                <a:gd name="connsiteY10" fmla="*/ 3522553 h 6858001"/>
                <a:gd name="connsiteX11" fmla="*/ 3175956 w 12192000"/>
                <a:gd name="connsiteY11" fmla="*/ 6784577 h 6858001"/>
                <a:gd name="connsiteX12" fmla="*/ 3269390 w 12192000"/>
                <a:gd name="connsiteY12" fmla="*/ 6858001 h 6858001"/>
                <a:gd name="connsiteX13" fmla="*/ 0 w 12192000"/>
                <a:gd name="connsiteY13" fmla="*/ 685800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92000" h="6858001">
                  <a:moveTo>
                    <a:pt x="8201697" y="0"/>
                  </a:moveTo>
                  <a:lnTo>
                    <a:pt x="12192000" y="0"/>
                  </a:lnTo>
                  <a:lnTo>
                    <a:pt x="12192000" y="6858001"/>
                  </a:lnTo>
                  <a:lnTo>
                    <a:pt x="8460487" y="6858001"/>
                  </a:lnTo>
                  <a:lnTo>
                    <a:pt x="8553921" y="6784577"/>
                  </a:lnTo>
                  <a:cubicBezTo>
                    <a:pt x="9493436" y="6009220"/>
                    <a:pt x="10092281" y="4835820"/>
                    <a:pt x="10092281" y="3522553"/>
                  </a:cubicBezTo>
                  <a:cubicBezTo>
                    <a:pt x="10092281" y="2063368"/>
                    <a:pt x="9352966" y="776858"/>
                    <a:pt x="8228486" y="17174"/>
                  </a:cubicBezTo>
                  <a:close/>
                  <a:moveTo>
                    <a:pt x="0" y="0"/>
                  </a:moveTo>
                  <a:lnTo>
                    <a:pt x="3528179" y="0"/>
                  </a:lnTo>
                  <a:lnTo>
                    <a:pt x="3501391" y="17174"/>
                  </a:lnTo>
                  <a:cubicBezTo>
                    <a:pt x="2376910" y="776858"/>
                    <a:pt x="1637595" y="2063368"/>
                    <a:pt x="1637595" y="3522553"/>
                  </a:cubicBezTo>
                  <a:cubicBezTo>
                    <a:pt x="1637595" y="4835820"/>
                    <a:pt x="2236440" y="6009220"/>
                    <a:pt x="3175956" y="6784577"/>
                  </a:cubicBezTo>
                  <a:lnTo>
                    <a:pt x="3269390" y="6858001"/>
                  </a:lnTo>
                  <a:lnTo>
                    <a:pt x="0" y="685800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6" name="Grafik 15" descr="Ein Bild, das Text, Schrift, Typografie, Grafiken enthält.&#10;&#10;KI-generierte Inhalte können fehlerhaft sein.">
            <a:extLst>
              <a:ext uri="{FF2B5EF4-FFF2-40B4-BE49-F238E27FC236}">
                <a16:creationId xmlns:a16="http://schemas.microsoft.com/office/drawing/2014/main" id="{64CC6E4A-905C-D521-C061-6E59CCEDAE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012" y="5950425"/>
            <a:ext cx="3198239" cy="689130"/>
          </a:xfrm>
          <a:prstGeom prst="rect">
            <a:avLst/>
          </a:prstGeom>
        </p:spPr>
      </p:pic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6F8CF97F-1EDB-2267-3566-931E1CE61E40}"/>
              </a:ext>
            </a:extLst>
          </p:cNvPr>
          <p:cNvSpPr txBox="1">
            <a:spLocks/>
          </p:cNvSpPr>
          <p:nvPr/>
        </p:nvSpPr>
        <p:spPr>
          <a:xfrm>
            <a:off x="8859464" y="5438632"/>
            <a:ext cx="3802040" cy="7400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>
                <a:solidFill>
                  <a:schemeClr val="bg1"/>
                </a:solidFill>
                <a:latin typeface="JetBrains Mono ExtraBold"/>
                <a:ea typeface="JetBrains Mono ExtraBold" panose="02000009000000000000" pitchFamily="49" charset="0"/>
                <a:cs typeface="JetBrains Mono ExtraBold" panose="02000009000000000000" pitchFamily="49" charset="0"/>
              </a:rPr>
              <a:t>17.-19.10.2025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6A8BEA19-4DA8-FA66-B966-A906129D7F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762842"/>
              </p:ext>
            </p:extLst>
          </p:nvPr>
        </p:nvGraphicFramePr>
        <p:xfrm>
          <a:off x="-588978" y="2407494"/>
          <a:ext cx="13369650" cy="1017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69650">
                  <a:extLst>
                    <a:ext uri="{9D8B030D-6E8A-4147-A177-3AD203B41FA5}">
                      <a16:colId xmlns:a16="http://schemas.microsoft.com/office/drawing/2014/main" val="4284858205"/>
                    </a:ext>
                  </a:extLst>
                </a:gridCol>
              </a:tblGrid>
              <a:tr h="1017694">
                <a:tc>
                  <a:txBody>
                    <a:bodyPr/>
                    <a:lstStyle/>
                    <a:p>
                      <a:pPr algn="ctr"/>
                      <a:r>
                        <a:rPr lang="de-DE" sz="4000" dirty="0">
                          <a:solidFill>
                            <a:schemeClr val="tx1"/>
                          </a:solidFill>
                        </a:rPr>
                        <a:t>TEAM Container-Knacker</a:t>
                      </a:r>
                    </a:p>
                  </a:txBody>
                  <a:tcPr anchor="ctr">
                    <a:solidFill>
                      <a:srgbClr val="FFFFFF">
                        <a:alpha val="8902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832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1936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6D8B6AE-3B95-B147-3AA7-491EA3A2D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121DE6F-FF44-E7A7-9D9C-1174064D9D95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0F7D1D5-8E3F-37EF-CC08-ABE7715FBC93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Problemstellung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E45B5326-887C-F972-6957-0DCF3DFB40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pic>
        <p:nvPicPr>
          <p:cNvPr id="3" name="Grafik 2" descr="Ein Bild, das Farbigkeit, Quadrat, Rechteck, Screenshot enthält.&#10;&#10;KI-generierte Inhalte können fehlerhaft sein.">
            <a:extLst>
              <a:ext uri="{FF2B5EF4-FFF2-40B4-BE49-F238E27FC236}">
                <a16:creationId xmlns:a16="http://schemas.microsoft.com/office/drawing/2014/main" id="{E4811D99-13DB-C900-1C75-E267AC5EC9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41" y="2011680"/>
            <a:ext cx="2074385" cy="3803904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ADF6F4C4-EE55-1111-680A-C3858045D2C8}"/>
              </a:ext>
            </a:extLst>
          </p:cNvPr>
          <p:cNvSpPr txBox="1"/>
          <p:nvPr/>
        </p:nvSpPr>
        <p:spPr>
          <a:xfrm>
            <a:off x="817356" y="5815583"/>
            <a:ext cx="167335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 dirty="0"/>
              <a:t>https://en.wikipedia.org/wiki/Tetris_effect</a:t>
            </a:r>
          </a:p>
        </p:txBody>
      </p:sp>
      <p:pic>
        <p:nvPicPr>
          <p:cNvPr id="9" name="Grafik 8" descr="Ein Bild, das Screenshot, Diagramm, Farbigkeit, Pixel enthält.&#10;&#10;KI-generierte Inhalte können fehlerhaft sein.">
            <a:extLst>
              <a:ext uri="{FF2B5EF4-FFF2-40B4-BE49-F238E27FC236}">
                <a16:creationId xmlns:a16="http://schemas.microsoft.com/office/drawing/2014/main" id="{47C46FF5-B9EA-6F15-C063-E488E07F6C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00" t="7844" r="28375"/>
          <a:stretch>
            <a:fillRect/>
          </a:stretch>
        </p:blipFill>
        <p:spPr>
          <a:xfrm>
            <a:off x="3766330" y="2011680"/>
            <a:ext cx="3493184" cy="380390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CBE58E7-C8E7-E618-23B5-A93E2537297C}"/>
              </a:ext>
            </a:extLst>
          </p:cNvPr>
          <p:cNvSpPr txBox="1"/>
          <p:nvPr/>
        </p:nvSpPr>
        <p:spPr>
          <a:xfrm>
            <a:off x="4828032" y="5815584"/>
            <a:ext cx="192024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 dirty="0"/>
              <a:t>https://imrainydan.itch.io/3d-tetris</a:t>
            </a:r>
          </a:p>
        </p:txBody>
      </p:sp>
      <p:pic>
        <p:nvPicPr>
          <p:cNvPr id="7" name="Grafik 6" descr="Ein Bild, das Screenshot, Farbigkeit, Diagramm, Quadrat enthält.&#10;&#10;KI-generierte Inhalte können fehlerhaft sein.">
            <a:extLst>
              <a:ext uri="{FF2B5EF4-FFF2-40B4-BE49-F238E27FC236}">
                <a16:creationId xmlns:a16="http://schemas.microsoft.com/office/drawing/2014/main" id="{41C71251-40E3-9D0C-9AD6-D461A8E640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4" t="9200" r="29098"/>
          <a:stretch>
            <a:fillRect/>
          </a:stretch>
        </p:blipFill>
        <p:spPr>
          <a:xfrm>
            <a:off x="8122941" y="1994783"/>
            <a:ext cx="3405618" cy="38208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4E9D607-8A66-D041-A920-2BC1DEAEAEAE}"/>
              </a:ext>
            </a:extLst>
          </p:cNvPr>
          <p:cNvSpPr txBox="1"/>
          <p:nvPr/>
        </p:nvSpPr>
        <p:spPr>
          <a:xfrm>
            <a:off x="9609292" y="5831929"/>
            <a:ext cx="1527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/>
              <a:t>KI-generiert</a:t>
            </a:r>
          </a:p>
        </p:txBody>
      </p:sp>
    </p:spTree>
    <p:extLst>
      <p:ext uri="{BB962C8B-B14F-4D97-AF65-F5344CB8AC3E}">
        <p14:creationId xmlns:p14="http://schemas.microsoft.com/office/powerpoint/2010/main" val="210244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547B176-28BC-4F34-F51D-CC30749160E8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de-DE">
                <a:solidFill>
                  <a:prstClr val="white"/>
                </a:solidFill>
              </a:rPr>
              <a:t>https://share.google/vSzBIYGi6DotWlcNi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6F4AFE-C3DD-AAE8-FC42-B83CB52F99C0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Problemstellung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98919D33-F3B6-DB84-6D53-78D6ADF38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03D545E-DEC0-7AD5-9705-FE3A17E40C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924" y="1716739"/>
            <a:ext cx="4058216" cy="4382112"/>
          </a:xfrm>
          <a:prstGeom prst="rect">
            <a:avLst/>
          </a:prstGeom>
        </p:spPr>
      </p:pic>
      <p:pic>
        <p:nvPicPr>
          <p:cNvPr id="17" name="Grafik 16" descr="Ein Bild, das Symbol, Rechteck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842C7598-D8BA-48D8-38E4-15CDF3BF1C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486" y="1568005"/>
            <a:ext cx="2265032" cy="2141554"/>
          </a:xfrm>
          <a:prstGeom prst="rect">
            <a:avLst/>
          </a:prstGeom>
        </p:spPr>
      </p:pic>
      <p:pic>
        <p:nvPicPr>
          <p:cNvPr id="19" name="Grafik 18" descr="Ein Bild, das Entwurf, Zeichnung, Menschliches Gesicht, Darstellung enthält.&#10;&#10;KI-generierte Inhalte können fehlerhaft sein.">
            <a:extLst>
              <a:ext uri="{FF2B5EF4-FFF2-40B4-BE49-F238E27FC236}">
                <a16:creationId xmlns:a16="http://schemas.microsoft.com/office/drawing/2014/main" id="{585F90C9-E975-7D2D-548C-8885F06A07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486" y="3850033"/>
            <a:ext cx="2265032" cy="2235424"/>
          </a:xfrm>
          <a:prstGeom prst="rect">
            <a:avLst/>
          </a:prstGeom>
        </p:spPr>
      </p:pic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CF2F10A5-2D18-201D-47A1-2DBB81B804FE}"/>
              </a:ext>
            </a:extLst>
          </p:cNvPr>
          <p:cNvSpPr/>
          <p:nvPr/>
        </p:nvSpPr>
        <p:spPr>
          <a:xfrm>
            <a:off x="5893554" y="3355848"/>
            <a:ext cx="1261872" cy="89611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DFF80E1-7530-1C6C-4704-87BAF564F9B5}"/>
              </a:ext>
            </a:extLst>
          </p:cNvPr>
          <p:cNvSpPr txBox="1"/>
          <p:nvPr/>
        </p:nvSpPr>
        <p:spPr>
          <a:xfrm>
            <a:off x="8698758" y="6033907"/>
            <a:ext cx="1618488" cy="192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 dirty="0"/>
              <a:t>https://share.google/vSzBIYGi6DotWlcNi</a:t>
            </a:r>
          </a:p>
        </p:txBody>
      </p:sp>
    </p:spTree>
    <p:extLst>
      <p:ext uri="{BB962C8B-B14F-4D97-AF65-F5344CB8AC3E}">
        <p14:creationId xmlns:p14="http://schemas.microsoft.com/office/powerpoint/2010/main" val="2061425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547B176-28BC-4F34-F51D-CC30749160E8}"/>
              </a:ext>
            </a:extLst>
          </p:cNvPr>
          <p:cNvSpPr/>
          <p:nvPr/>
        </p:nvSpPr>
        <p:spPr>
          <a:xfrm>
            <a:off x="316174" y="1408564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eKl1m7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6F4AFE-C3DD-AAE8-FC42-B83CB52F99C0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dirty="0">
                <a:solidFill>
                  <a:srgbClr val="FFFF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Konzept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98919D33-F3B6-DB84-6D53-78D6ADF38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9F98000D-37BE-021A-5A24-C6CA23801C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2230774"/>
              </p:ext>
            </p:extLst>
          </p:nvPr>
        </p:nvGraphicFramePr>
        <p:xfrm>
          <a:off x="683850" y="2337600"/>
          <a:ext cx="10972800" cy="2697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D68DC245-6842-D0BB-22E2-D9B5384AB3A7}"/>
              </a:ext>
            </a:extLst>
          </p:cNvPr>
          <p:cNvSpPr/>
          <p:nvPr/>
        </p:nvSpPr>
        <p:spPr>
          <a:xfrm>
            <a:off x="683850" y="2337600"/>
            <a:ext cx="2926080" cy="269748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5C98126-A4C8-7350-7E5C-19F3EBC2689A}"/>
              </a:ext>
            </a:extLst>
          </p:cNvPr>
          <p:cNvSpPr/>
          <p:nvPr/>
        </p:nvSpPr>
        <p:spPr>
          <a:xfrm>
            <a:off x="5102353" y="2080260"/>
            <a:ext cx="2459736" cy="269748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30272EA-9917-B57E-EF7D-1A62E60F0E3C}"/>
              </a:ext>
            </a:extLst>
          </p:cNvPr>
          <p:cNvSpPr/>
          <p:nvPr/>
        </p:nvSpPr>
        <p:spPr>
          <a:xfrm>
            <a:off x="7562089" y="2195001"/>
            <a:ext cx="4186002" cy="269748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731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D9FB06-0C5D-2465-CFC5-C03EC4199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B8833DFD-B2CA-AFF9-9138-9EEFB2EAF3B2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eKl1m7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F4EBFC3-9103-F047-BB78-C0F32979FD9C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dirty="0">
                <a:solidFill>
                  <a:srgbClr val="FFFF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Ausarbeitung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A6CE3DAE-6369-4ED2-F563-03D11A5AA3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BD97217-180E-31C0-25CA-EC5C110DC0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4299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7D8342-EA34-7E17-04AF-14CD41243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05AD72B-2DE7-E402-766F-D3FF619E1156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Kl1m7A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AAF7D01-AEFB-1BA7-C7BC-1A2F586940C6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Zusammenfassung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347B6D2F-8277-E96A-DFBF-F3B3128F46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5796D762-7D4B-C5E5-4F4E-461510044886}"/>
              </a:ext>
            </a:extLst>
          </p:cNvPr>
          <p:cNvSpPr txBox="1"/>
          <p:nvPr/>
        </p:nvSpPr>
        <p:spPr>
          <a:xfrm>
            <a:off x="1344168" y="2130552"/>
            <a:ext cx="905256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dirty="0"/>
              <a:t>Benutzerfreundliches T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dirty="0"/>
              <a:t>Automatische und effiziente Anordn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dirty="0"/>
              <a:t>3D Visualisi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dirty="0"/>
              <a:t>Einsparung bis zu 250.000€ p.a</a:t>
            </a:r>
            <a:r>
              <a:rPr lang="de-DE" sz="2800"/>
              <a:t>.(nur für </a:t>
            </a:r>
            <a:r>
              <a:rPr lang="de-DE" sz="2800" dirty="0"/>
              <a:t>Planung)</a:t>
            </a:r>
          </a:p>
        </p:txBody>
      </p:sp>
    </p:spTree>
    <p:extLst>
      <p:ext uri="{BB962C8B-B14F-4D97-AF65-F5344CB8AC3E}">
        <p14:creationId xmlns:p14="http://schemas.microsoft.com/office/powerpoint/2010/main" val="3795732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E2CF0D-CC89-C4F3-8A45-1D6C58B770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6872704-CEBC-E04C-17B9-9E1662F93C3D}"/>
              </a:ext>
            </a:extLst>
          </p:cNvPr>
          <p:cNvSpPr/>
          <p:nvPr/>
        </p:nvSpPr>
        <p:spPr>
          <a:xfrm>
            <a:off x="316174" y="1362844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Kl1m7A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926E8B2-6CC0-3268-D45D-3053DE69B1AA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dirty="0">
                <a:solidFill>
                  <a:srgbClr val="FFFF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Vis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D2393DA8-7851-232F-6B04-19718C025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437DF94-972E-ED94-4F28-79CD3BFAE1A0}"/>
              </a:ext>
            </a:extLst>
          </p:cNvPr>
          <p:cNvSpPr txBox="1"/>
          <p:nvPr/>
        </p:nvSpPr>
        <p:spPr>
          <a:xfrm>
            <a:off x="1367028" y="1886469"/>
            <a:ext cx="7027164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2800" dirty="0"/>
              <a:t>Anbindung an SAP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28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2800" dirty="0"/>
              <a:t>Automatische Schritt-für-Schritt Packlist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28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2800" dirty="0"/>
              <a:t>Anzeigen der Gewichtsverteilu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dirty="0"/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F775E635-26B8-4355-D4D1-F58F38AAD6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5366739"/>
              </p:ext>
            </p:extLst>
          </p:nvPr>
        </p:nvGraphicFramePr>
        <p:xfrm>
          <a:off x="521208" y="4410237"/>
          <a:ext cx="10972800" cy="21698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Multiplikationszeichen 3">
            <a:extLst>
              <a:ext uri="{FF2B5EF4-FFF2-40B4-BE49-F238E27FC236}">
                <a16:creationId xmlns:a16="http://schemas.microsoft.com/office/drawing/2014/main" id="{B2363951-0F02-4DD9-2C9E-5728AC75ABBA}"/>
              </a:ext>
            </a:extLst>
          </p:cNvPr>
          <p:cNvSpPr/>
          <p:nvPr/>
        </p:nvSpPr>
        <p:spPr>
          <a:xfrm>
            <a:off x="-749525" y="4933211"/>
            <a:ext cx="5175504" cy="1123888"/>
          </a:xfrm>
          <a:prstGeom prst="mathMultiply">
            <a:avLst>
              <a:gd name="adj1" fmla="val 783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497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3F39C26-2327-869D-1436-39546F9625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E00F7B6-3F02-FEDD-105C-278479D48E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fik 2" descr="Ein Bild, das Kleidung, Himmel, Person, Wolkenkratzer enthält.&#10;&#10;KI-generierte Inhalte können fehlerhaft sein.">
            <a:extLst>
              <a:ext uri="{FF2B5EF4-FFF2-40B4-BE49-F238E27FC236}">
                <a16:creationId xmlns:a16="http://schemas.microsoft.com/office/drawing/2014/main" id="{5041B27B-7AAE-483F-C554-1D63E6FD82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0" r="-1" b="5554"/>
          <a:stretch>
            <a:fillRect/>
          </a:stretch>
        </p:blipFill>
        <p:spPr>
          <a:xfrm>
            <a:off x="1235925" y="-7622"/>
            <a:ext cx="9939893" cy="686562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7C609BF-6E16-F58D-59E8-21C549070C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3810"/>
            <a:ext cx="12192000" cy="6858000"/>
            <a:chOff x="0" y="-3810"/>
            <a:chExt cx="12192000" cy="68580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87C880A-334B-9D61-DDD4-79E9105FBB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0219" y="-3810"/>
              <a:ext cx="8273365" cy="6858000"/>
            </a:xfrm>
            <a:custGeom>
              <a:avLst/>
              <a:gdLst>
                <a:gd name="connsiteX0" fmla="*/ 4102025 w 8273365"/>
                <a:gd name="connsiteY0" fmla="*/ 169161 h 6858000"/>
                <a:gd name="connsiteX1" fmla="*/ 1827641 w 8273365"/>
                <a:gd name="connsiteY1" fmla="*/ 1129498 h 6858000"/>
                <a:gd name="connsiteX2" fmla="*/ 1132950 w 8273365"/>
                <a:gd name="connsiteY2" fmla="*/ 2178191 h 6858000"/>
                <a:gd name="connsiteX3" fmla="*/ 877835 w 8273365"/>
                <a:gd name="connsiteY3" fmla="*/ 3466345 h 6858000"/>
                <a:gd name="connsiteX4" fmla="*/ 1089650 w 8273365"/>
                <a:gd name="connsiteY4" fmla="*/ 4644934 h 6858000"/>
                <a:gd name="connsiteX5" fmla="*/ 1672144 w 8273365"/>
                <a:gd name="connsiteY5" fmla="*/ 5633505 h 6858000"/>
                <a:gd name="connsiteX6" fmla="*/ 2747751 w 8273365"/>
                <a:gd name="connsiteY6" fmla="*/ 6459556 h 6858000"/>
                <a:gd name="connsiteX7" fmla="*/ 4102171 w 8273365"/>
                <a:gd name="connsiteY7" fmla="*/ 6763529 h 6858000"/>
                <a:gd name="connsiteX8" fmla="*/ 5506765 w 8273365"/>
                <a:gd name="connsiteY8" fmla="*/ 5818405 h 6858000"/>
                <a:gd name="connsiteX9" fmla="*/ 5914160 w 8273365"/>
                <a:gd name="connsiteY9" fmla="*/ 5382925 h 6858000"/>
                <a:gd name="connsiteX10" fmla="*/ 6891758 w 8273365"/>
                <a:gd name="connsiteY10" fmla="*/ 4677848 h 6858000"/>
                <a:gd name="connsiteX11" fmla="*/ 7158868 w 8273365"/>
                <a:gd name="connsiteY11" fmla="*/ 4511965 h 6858000"/>
                <a:gd name="connsiteX12" fmla="*/ 7306320 w 8273365"/>
                <a:gd name="connsiteY12" fmla="*/ 4179467 h 6858000"/>
                <a:gd name="connsiteX13" fmla="*/ 7315828 w 8273365"/>
                <a:gd name="connsiteY13" fmla="*/ 2884730 h 6858000"/>
                <a:gd name="connsiteX14" fmla="*/ 6704519 w 8273365"/>
                <a:gd name="connsiteY14" fmla="*/ 1640752 h 6858000"/>
                <a:gd name="connsiteX15" fmla="*/ 5471805 w 8273365"/>
                <a:gd name="connsiteY15" fmla="*/ 563096 h 6858000"/>
                <a:gd name="connsiteX16" fmla="*/ 4102025 w 8273365"/>
                <a:gd name="connsiteY16" fmla="*/ 169161 h 6858000"/>
                <a:gd name="connsiteX17" fmla="*/ 1815426 w 8273365"/>
                <a:gd name="connsiteY17" fmla="*/ 0 h 6858000"/>
                <a:gd name="connsiteX18" fmla="*/ 6228114 w 8273365"/>
                <a:gd name="connsiteY18" fmla="*/ 0 h 6858000"/>
                <a:gd name="connsiteX19" fmla="*/ 6378838 w 8273365"/>
                <a:gd name="connsiteY19" fmla="*/ 104569 h 6858000"/>
                <a:gd name="connsiteX20" fmla="*/ 8151535 w 8273365"/>
                <a:gd name="connsiteY20" fmla="*/ 4415712 h 6858000"/>
                <a:gd name="connsiteX21" fmla="*/ 6540097 w 8273365"/>
                <a:gd name="connsiteY21" fmla="*/ 5998038 h 6858000"/>
                <a:gd name="connsiteX22" fmla="*/ 5741125 w 8273365"/>
                <a:gd name="connsiteY22" fmla="*/ 6849976 h 6858000"/>
                <a:gd name="connsiteX23" fmla="*/ 5732797 w 8273365"/>
                <a:gd name="connsiteY23" fmla="*/ 6858000 h 6858000"/>
                <a:gd name="connsiteX24" fmla="*/ 1711956 w 8273365"/>
                <a:gd name="connsiteY24" fmla="*/ 6858000 h 6858000"/>
                <a:gd name="connsiteX25" fmla="*/ 1631859 w 8273365"/>
                <a:gd name="connsiteY25" fmla="*/ 6799706 h 6858000"/>
                <a:gd name="connsiteX26" fmla="*/ 1004515 w 8273365"/>
                <a:gd name="connsiteY26" fmla="*/ 6203417 h 6858000"/>
                <a:gd name="connsiteX27" fmla="*/ 0 w 8273365"/>
                <a:gd name="connsiteY27" fmla="*/ 3466345 h 6858000"/>
                <a:gd name="connsiteX28" fmla="*/ 1808555 w 8273365"/>
                <a:gd name="connsiteY28" fmla="*/ 448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273365" h="6858000">
                  <a:moveTo>
                    <a:pt x="4102025" y="169161"/>
                  </a:moveTo>
                  <a:cubicBezTo>
                    <a:pt x="3243792" y="169161"/>
                    <a:pt x="2435879" y="510143"/>
                    <a:pt x="1827641" y="1129498"/>
                  </a:cubicBezTo>
                  <a:cubicBezTo>
                    <a:pt x="1529958" y="1432447"/>
                    <a:pt x="1296200" y="1785278"/>
                    <a:pt x="1132950" y="2178191"/>
                  </a:cubicBezTo>
                  <a:cubicBezTo>
                    <a:pt x="963703" y="2585585"/>
                    <a:pt x="877835" y="3019017"/>
                    <a:pt x="877835" y="3466345"/>
                  </a:cubicBezTo>
                  <a:cubicBezTo>
                    <a:pt x="877835" y="3873007"/>
                    <a:pt x="949074" y="4269431"/>
                    <a:pt x="1089650" y="4644934"/>
                  </a:cubicBezTo>
                  <a:cubicBezTo>
                    <a:pt x="1225254" y="5007127"/>
                    <a:pt x="1421271" y="5339626"/>
                    <a:pt x="1672144" y="5633505"/>
                  </a:cubicBezTo>
                  <a:cubicBezTo>
                    <a:pt x="1968657" y="5980924"/>
                    <a:pt x="2340649" y="6266465"/>
                    <a:pt x="2747751" y="6459556"/>
                  </a:cubicBezTo>
                  <a:cubicBezTo>
                    <a:pt x="3172991" y="6661277"/>
                    <a:pt x="3628659" y="6763529"/>
                    <a:pt x="4102171" y="6763529"/>
                  </a:cubicBezTo>
                  <a:cubicBezTo>
                    <a:pt x="4621030" y="6763529"/>
                    <a:pt x="4940657" y="6439515"/>
                    <a:pt x="5506765" y="5818405"/>
                  </a:cubicBezTo>
                  <a:cubicBezTo>
                    <a:pt x="5636225" y="5676365"/>
                    <a:pt x="5770072" y="5529498"/>
                    <a:pt x="5914160" y="5382925"/>
                  </a:cubicBezTo>
                  <a:cubicBezTo>
                    <a:pt x="6290981" y="4999374"/>
                    <a:pt x="6638252" y="4813450"/>
                    <a:pt x="6891758" y="4677848"/>
                  </a:cubicBezTo>
                  <a:cubicBezTo>
                    <a:pt x="7016098" y="4611144"/>
                    <a:pt x="7114398" y="4558629"/>
                    <a:pt x="7158868" y="4511965"/>
                  </a:cubicBezTo>
                  <a:cubicBezTo>
                    <a:pt x="7208604" y="4459742"/>
                    <a:pt x="7260974" y="4341693"/>
                    <a:pt x="7306320" y="4179467"/>
                  </a:cubicBezTo>
                  <a:cubicBezTo>
                    <a:pt x="7422466" y="3764174"/>
                    <a:pt x="7425540" y="3328547"/>
                    <a:pt x="7315828" y="2884730"/>
                  </a:cubicBezTo>
                  <a:cubicBezTo>
                    <a:pt x="7210506" y="2459197"/>
                    <a:pt x="6999129" y="2028984"/>
                    <a:pt x="6704519" y="1640752"/>
                  </a:cubicBezTo>
                  <a:cubicBezTo>
                    <a:pt x="6369826" y="1199861"/>
                    <a:pt x="5943562" y="827136"/>
                    <a:pt x="5471805" y="563096"/>
                  </a:cubicBezTo>
                  <a:cubicBezTo>
                    <a:pt x="5011311" y="305349"/>
                    <a:pt x="4537651" y="169161"/>
                    <a:pt x="4102025" y="169161"/>
                  </a:cubicBezTo>
                  <a:close/>
                  <a:moveTo>
                    <a:pt x="1815426" y="0"/>
                  </a:moveTo>
                  <a:lnTo>
                    <a:pt x="6228114" y="0"/>
                  </a:lnTo>
                  <a:lnTo>
                    <a:pt x="6378838" y="104569"/>
                  </a:lnTo>
                  <a:cubicBezTo>
                    <a:pt x="7701449" y="1070221"/>
                    <a:pt x="8614337" y="2759472"/>
                    <a:pt x="8151535" y="4415712"/>
                  </a:cubicBezTo>
                  <a:cubicBezTo>
                    <a:pt x="7841710" y="5524525"/>
                    <a:pt x="7282330" y="5242495"/>
                    <a:pt x="6540097" y="5998038"/>
                  </a:cubicBezTo>
                  <a:cubicBezTo>
                    <a:pt x="6261706" y="6281367"/>
                    <a:pt x="6008555" y="6583271"/>
                    <a:pt x="5741125" y="6849976"/>
                  </a:cubicBezTo>
                  <a:lnTo>
                    <a:pt x="5732797" y="6858000"/>
                  </a:lnTo>
                  <a:lnTo>
                    <a:pt x="1711956" y="6858000"/>
                  </a:lnTo>
                  <a:lnTo>
                    <a:pt x="1631859" y="6799706"/>
                  </a:lnTo>
                  <a:cubicBezTo>
                    <a:pt x="1402830" y="6623620"/>
                    <a:pt x="1192523" y="6423644"/>
                    <a:pt x="1004515" y="6203417"/>
                  </a:cubicBezTo>
                  <a:cubicBezTo>
                    <a:pt x="378870" y="5470546"/>
                    <a:pt x="0" y="4513427"/>
                    <a:pt x="0" y="3466345"/>
                  </a:cubicBezTo>
                  <a:cubicBezTo>
                    <a:pt x="0" y="2025290"/>
                    <a:pt x="717408" y="754744"/>
                    <a:pt x="1808555" y="4483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8FBF1E8-0DEA-B73F-C789-5E0DC6AA3B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0219" y="-3810"/>
              <a:ext cx="8273365" cy="6858000"/>
            </a:xfrm>
            <a:custGeom>
              <a:avLst/>
              <a:gdLst>
                <a:gd name="connsiteX0" fmla="*/ 1616062 w 8273365"/>
                <a:gd name="connsiteY0" fmla="*/ 0 h 6858000"/>
                <a:gd name="connsiteX1" fmla="*/ 3206514 w 8273365"/>
                <a:gd name="connsiteY1" fmla="*/ 0 h 6858000"/>
                <a:gd name="connsiteX2" fmla="*/ 3122517 w 8273365"/>
                <a:gd name="connsiteY2" fmla="*/ 23655 h 6858000"/>
                <a:gd name="connsiteX3" fmla="*/ 1723196 w 8273365"/>
                <a:gd name="connsiteY3" fmla="*/ 880747 h 6858000"/>
                <a:gd name="connsiteX4" fmla="*/ 997786 w 8273365"/>
                <a:gd name="connsiteY4" fmla="*/ 1975811 h 6858000"/>
                <a:gd name="connsiteX5" fmla="*/ 731408 w 8273365"/>
                <a:gd name="connsiteY5" fmla="*/ 3320136 h 6858000"/>
                <a:gd name="connsiteX6" fmla="*/ 952731 w 8273365"/>
                <a:gd name="connsiteY6" fmla="*/ 4550071 h 6858000"/>
                <a:gd name="connsiteX7" fmla="*/ 1560970 w 8273365"/>
                <a:gd name="connsiteY7" fmla="*/ 5582379 h 6858000"/>
                <a:gd name="connsiteX8" fmla="*/ 2685142 w 8273365"/>
                <a:gd name="connsiteY8" fmla="*/ 6445587 h 6858000"/>
                <a:gd name="connsiteX9" fmla="*/ 4102171 w 8273365"/>
                <a:gd name="connsiteY9" fmla="*/ 6763602 h 6858000"/>
                <a:gd name="connsiteX10" fmla="*/ 4840307 w 8273365"/>
                <a:gd name="connsiteY10" fmla="*/ 6518434 h 6858000"/>
                <a:gd name="connsiteX11" fmla="*/ 5614867 w 8273365"/>
                <a:gd name="connsiteY11" fmla="*/ 5770643 h 6858000"/>
                <a:gd name="connsiteX12" fmla="*/ 6018458 w 8273365"/>
                <a:gd name="connsiteY12" fmla="*/ 5339114 h 6858000"/>
                <a:gd name="connsiteX13" fmla="*/ 6960802 w 8273365"/>
                <a:gd name="connsiteY13" fmla="*/ 4660514 h 6858000"/>
                <a:gd name="connsiteX14" fmla="*/ 7264776 w 8273365"/>
                <a:gd name="connsiteY14" fmla="*/ 4466544 h 6858000"/>
                <a:gd name="connsiteX15" fmla="*/ 7447190 w 8273365"/>
                <a:gd name="connsiteY15" fmla="*/ 4072462 h 6858000"/>
                <a:gd name="connsiteX16" fmla="*/ 7457722 w 8273365"/>
                <a:gd name="connsiteY16" fmla="*/ 2703268 h 6858000"/>
                <a:gd name="connsiteX17" fmla="*/ 6820959 w 8273365"/>
                <a:gd name="connsiteY17" fmla="*/ 1406044 h 6858000"/>
                <a:gd name="connsiteX18" fmla="*/ 5543190 w 8273365"/>
                <a:gd name="connsiteY18" fmla="*/ 289185 h 6858000"/>
                <a:gd name="connsiteX19" fmla="*/ 4996775 w 8273365"/>
                <a:gd name="connsiteY19" fmla="*/ 40060 h 6858000"/>
                <a:gd name="connsiteX20" fmla="*/ 4871645 w 8273365"/>
                <a:gd name="connsiteY20" fmla="*/ 0 h 6858000"/>
                <a:gd name="connsiteX21" fmla="*/ 6433093 w 8273365"/>
                <a:gd name="connsiteY21" fmla="*/ 0 h 6858000"/>
                <a:gd name="connsiteX22" fmla="*/ 6564891 w 8273365"/>
                <a:gd name="connsiteY22" fmla="*/ 101152 h 6858000"/>
                <a:gd name="connsiteX23" fmla="*/ 8151535 w 8273365"/>
                <a:gd name="connsiteY23" fmla="*/ 4269504 h 6858000"/>
                <a:gd name="connsiteX24" fmla="*/ 6540097 w 8273365"/>
                <a:gd name="connsiteY24" fmla="*/ 5851830 h 6858000"/>
                <a:gd name="connsiteX25" fmla="*/ 5606037 w 8273365"/>
                <a:gd name="connsiteY25" fmla="*/ 6833938 h 6858000"/>
                <a:gd name="connsiteX26" fmla="*/ 5578888 w 8273365"/>
                <a:gd name="connsiteY26" fmla="*/ 6858000 h 6858000"/>
                <a:gd name="connsiteX27" fmla="*/ 1925521 w 8273365"/>
                <a:gd name="connsiteY27" fmla="*/ 6858000 h 6858000"/>
                <a:gd name="connsiteX28" fmla="*/ 1807085 w 8273365"/>
                <a:gd name="connsiteY28" fmla="*/ 6781026 h 6858000"/>
                <a:gd name="connsiteX29" fmla="*/ 1004515 w 8273365"/>
                <a:gd name="connsiteY29" fmla="*/ 6057209 h 6858000"/>
                <a:gd name="connsiteX30" fmla="*/ 0 w 8273365"/>
                <a:gd name="connsiteY30" fmla="*/ 3320136 h 6858000"/>
                <a:gd name="connsiteX31" fmla="*/ 1492767 w 8273365"/>
                <a:gd name="connsiteY31" fmla="*/ 9861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273365" h="6858000">
                  <a:moveTo>
                    <a:pt x="1616062" y="0"/>
                  </a:moveTo>
                  <a:lnTo>
                    <a:pt x="3206514" y="0"/>
                  </a:lnTo>
                  <a:lnTo>
                    <a:pt x="3122517" y="23655"/>
                  </a:lnTo>
                  <a:cubicBezTo>
                    <a:pt x="2599902" y="185042"/>
                    <a:pt x="2120807" y="476097"/>
                    <a:pt x="1723196" y="880747"/>
                  </a:cubicBezTo>
                  <a:cubicBezTo>
                    <a:pt x="1412348" y="1197008"/>
                    <a:pt x="1168351" y="1565490"/>
                    <a:pt x="997786" y="1975811"/>
                  </a:cubicBezTo>
                  <a:cubicBezTo>
                    <a:pt x="821078" y="2401050"/>
                    <a:pt x="731408" y="2853352"/>
                    <a:pt x="731408" y="3320136"/>
                  </a:cubicBezTo>
                  <a:cubicBezTo>
                    <a:pt x="731408" y="3744353"/>
                    <a:pt x="805864" y="4158182"/>
                    <a:pt x="952731" y="4550071"/>
                  </a:cubicBezTo>
                  <a:cubicBezTo>
                    <a:pt x="1094331" y="4928208"/>
                    <a:pt x="1298980" y="5275627"/>
                    <a:pt x="1560970" y="5582379"/>
                  </a:cubicBezTo>
                  <a:cubicBezTo>
                    <a:pt x="1870793" y="5945304"/>
                    <a:pt x="2259610" y="6243718"/>
                    <a:pt x="2685142" y="6445587"/>
                  </a:cubicBezTo>
                  <a:cubicBezTo>
                    <a:pt x="3130131" y="6656669"/>
                    <a:pt x="3606861" y="6763602"/>
                    <a:pt x="4102171" y="6763602"/>
                  </a:cubicBezTo>
                  <a:cubicBezTo>
                    <a:pt x="4371914" y="6763602"/>
                    <a:pt x="4599528" y="6687974"/>
                    <a:pt x="4840307" y="6518434"/>
                  </a:cubicBezTo>
                  <a:cubicBezTo>
                    <a:pt x="5099811" y="6335729"/>
                    <a:pt x="5349951" y="6061159"/>
                    <a:pt x="5614867" y="5770643"/>
                  </a:cubicBezTo>
                  <a:cubicBezTo>
                    <a:pt x="5743449" y="5629628"/>
                    <a:pt x="5876273" y="5483786"/>
                    <a:pt x="6018458" y="5339114"/>
                  </a:cubicBezTo>
                  <a:cubicBezTo>
                    <a:pt x="6379773" y="4971361"/>
                    <a:pt x="6715635" y="4791728"/>
                    <a:pt x="6960802" y="4660514"/>
                  </a:cubicBezTo>
                  <a:cubicBezTo>
                    <a:pt x="7116154" y="4577280"/>
                    <a:pt x="7206994" y="4527251"/>
                    <a:pt x="7264776" y="4466544"/>
                  </a:cubicBezTo>
                  <a:cubicBezTo>
                    <a:pt x="7332650" y="4395306"/>
                    <a:pt x="7394089" y="4262628"/>
                    <a:pt x="7447190" y="4072462"/>
                  </a:cubicBezTo>
                  <a:cubicBezTo>
                    <a:pt x="7570066" y="3632594"/>
                    <a:pt x="7573576" y="3171954"/>
                    <a:pt x="7457722" y="2703268"/>
                  </a:cubicBezTo>
                  <a:cubicBezTo>
                    <a:pt x="7347718" y="2258572"/>
                    <a:pt x="7127565" y="1810073"/>
                    <a:pt x="6820959" y="1406044"/>
                  </a:cubicBezTo>
                  <a:cubicBezTo>
                    <a:pt x="6474271" y="949207"/>
                    <a:pt x="6032355" y="563024"/>
                    <a:pt x="5543190" y="289185"/>
                  </a:cubicBezTo>
                  <a:cubicBezTo>
                    <a:pt x="5362386" y="187977"/>
                    <a:pt x="5179299" y="104665"/>
                    <a:pt x="4996775" y="40060"/>
                  </a:cubicBezTo>
                  <a:lnTo>
                    <a:pt x="4871645" y="0"/>
                  </a:lnTo>
                  <a:lnTo>
                    <a:pt x="6433093" y="0"/>
                  </a:lnTo>
                  <a:lnTo>
                    <a:pt x="6564891" y="101152"/>
                  </a:lnTo>
                  <a:cubicBezTo>
                    <a:pt x="7785271" y="1084819"/>
                    <a:pt x="8592299" y="2692132"/>
                    <a:pt x="8151535" y="4269504"/>
                  </a:cubicBezTo>
                  <a:cubicBezTo>
                    <a:pt x="7841710" y="5378317"/>
                    <a:pt x="7282330" y="5096287"/>
                    <a:pt x="6540097" y="5851830"/>
                  </a:cubicBezTo>
                  <a:cubicBezTo>
                    <a:pt x="6215307" y="6182380"/>
                    <a:pt x="5924872" y="6538214"/>
                    <a:pt x="5606037" y="6833938"/>
                  </a:cubicBezTo>
                  <a:lnTo>
                    <a:pt x="5578888" y="6858000"/>
                  </a:lnTo>
                  <a:lnTo>
                    <a:pt x="1925521" y="6858000"/>
                  </a:lnTo>
                  <a:lnTo>
                    <a:pt x="1807085" y="6781026"/>
                  </a:lnTo>
                  <a:cubicBezTo>
                    <a:pt x="1509378" y="6576133"/>
                    <a:pt x="1239525" y="6332492"/>
                    <a:pt x="1004515" y="6057209"/>
                  </a:cubicBezTo>
                  <a:cubicBezTo>
                    <a:pt x="378870" y="5324338"/>
                    <a:pt x="0" y="4367220"/>
                    <a:pt x="0" y="3320136"/>
                  </a:cubicBezTo>
                  <a:cubicBezTo>
                    <a:pt x="0" y="2023187"/>
                    <a:pt x="581101" y="864350"/>
                    <a:pt x="1492767" y="98612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DB321D2-BD56-EE36-1FD3-F80F208AF7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37594" y="-3810"/>
              <a:ext cx="8219860" cy="6858000"/>
            </a:xfrm>
            <a:custGeom>
              <a:avLst/>
              <a:gdLst>
                <a:gd name="connsiteX0" fmla="*/ 5534366 w 8219860"/>
                <a:gd name="connsiteY0" fmla="*/ 0 h 6858000"/>
                <a:gd name="connsiteX1" fmla="*/ 6263243 w 8219860"/>
                <a:gd name="connsiteY1" fmla="*/ 0 h 6858000"/>
                <a:gd name="connsiteX2" fmla="*/ 6295307 w 8219860"/>
                <a:gd name="connsiteY2" fmla="*/ 21377 h 6858000"/>
                <a:gd name="connsiteX3" fmla="*/ 6907056 w 8219860"/>
                <a:gd name="connsiteY3" fmla="*/ 522976 h 6858000"/>
                <a:gd name="connsiteX4" fmla="*/ 7434107 w 8219860"/>
                <a:gd name="connsiteY4" fmla="*/ 1119513 h 6858000"/>
                <a:gd name="connsiteX5" fmla="*/ 7856130 w 8219860"/>
                <a:gd name="connsiteY5" fmla="*/ 1802940 h 6858000"/>
                <a:gd name="connsiteX6" fmla="*/ 8019380 w 8219860"/>
                <a:gd name="connsiteY6" fmla="*/ 2174201 h 6858000"/>
                <a:gd name="connsiteX7" fmla="*/ 8054634 w 8219860"/>
                <a:gd name="connsiteY7" fmla="*/ 2269723 h 6858000"/>
                <a:gd name="connsiteX8" fmla="*/ 8086962 w 8219860"/>
                <a:gd name="connsiteY8" fmla="*/ 2366562 h 6858000"/>
                <a:gd name="connsiteX9" fmla="*/ 8115633 w 8219860"/>
                <a:gd name="connsiteY9" fmla="*/ 2464717 h 6858000"/>
                <a:gd name="connsiteX10" fmla="*/ 8140794 w 8219860"/>
                <a:gd name="connsiteY10" fmla="*/ 2563895 h 6858000"/>
                <a:gd name="connsiteX11" fmla="*/ 8218615 w 8219860"/>
                <a:gd name="connsiteY11" fmla="*/ 3378975 h 6858000"/>
                <a:gd name="connsiteX12" fmla="*/ 8175170 w 8219860"/>
                <a:gd name="connsiteY12" fmla="*/ 3786370 h 6858000"/>
                <a:gd name="connsiteX13" fmla="*/ 8073943 w 8219860"/>
                <a:gd name="connsiteY13" fmla="*/ 4180891 h 6858000"/>
                <a:gd name="connsiteX14" fmla="*/ 7939071 w 8219860"/>
                <a:gd name="connsiteY14" fmla="*/ 4562246 h 6858000"/>
                <a:gd name="connsiteX15" fmla="*/ 7854229 w 8219860"/>
                <a:gd name="connsiteY15" fmla="*/ 4751828 h 6858000"/>
                <a:gd name="connsiteX16" fmla="*/ 7745102 w 8219860"/>
                <a:gd name="connsiteY16" fmla="*/ 4936435 h 6858000"/>
                <a:gd name="connsiteX17" fmla="*/ 7605403 w 8219860"/>
                <a:gd name="connsiteY17" fmla="*/ 5106852 h 6858000"/>
                <a:gd name="connsiteX18" fmla="*/ 7524949 w 8219860"/>
                <a:gd name="connsiteY18" fmla="*/ 5182481 h 6858000"/>
                <a:gd name="connsiteX19" fmla="*/ 7440106 w 8219860"/>
                <a:gd name="connsiteY19" fmla="*/ 5250208 h 6858000"/>
                <a:gd name="connsiteX20" fmla="*/ 7101758 w 8219860"/>
                <a:gd name="connsiteY20" fmla="*/ 5463633 h 6858000"/>
                <a:gd name="connsiteX21" fmla="*/ 6804366 w 8219860"/>
                <a:gd name="connsiteY21" fmla="*/ 5657895 h 6858000"/>
                <a:gd name="connsiteX22" fmla="*/ 6671103 w 8219860"/>
                <a:gd name="connsiteY22" fmla="*/ 5765704 h 6858000"/>
                <a:gd name="connsiteX23" fmla="*/ 6545887 w 8219860"/>
                <a:gd name="connsiteY23" fmla="*/ 5882583 h 6858000"/>
                <a:gd name="connsiteX24" fmla="*/ 6485473 w 8219860"/>
                <a:gd name="connsiteY24" fmla="*/ 5945046 h 6858000"/>
                <a:gd name="connsiteX25" fmla="*/ 6423303 w 8219860"/>
                <a:gd name="connsiteY25" fmla="*/ 6011604 h 6858000"/>
                <a:gd name="connsiteX26" fmla="*/ 6298672 w 8219860"/>
                <a:gd name="connsiteY26" fmla="*/ 6146768 h 6858000"/>
                <a:gd name="connsiteX27" fmla="*/ 6040923 w 8219860"/>
                <a:gd name="connsiteY27" fmla="*/ 6418997 h 6858000"/>
                <a:gd name="connsiteX28" fmla="*/ 5907662 w 8219860"/>
                <a:gd name="connsiteY28" fmla="*/ 6555769 h 6858000"/>
                <a:gd name="connsiteX29" fmla="*/ 5769864 w 8219860"/>
                <a:gd name="connsiteY29" fmla="*/ 6691081 h 6858000"/>
                <a:gd name="connsiteX30" fmla="*/ 5581270 w 8219860"/>
                <a:gd name="connsiteY30" fmla="*/ 6858000 h 6858000"/>
                <a:gd name="connsiteX31" fmla="*/ 5057635 w 8219860"/>
                <a:gd name="connsiteY31" fmla="*/ 6858000 h 6858000"/>
                <a:gd name="connsiteX32" fmla="*/ 5112401 w 8219860"/>
                <a:gd name="connsiteY32" fmla="*/ 6812805 h 6858000"/>
                <a:gd name="connsiteX33" fmla="*/ 5241495 w 8219860"/>
                <a:gd name="connsiteY33" fmla="*/ 6689617 h 6858000"/>
                <a:gd name="connsiteX34" fmla="*/ 5485639 w 8219860"/>
                <a:gd name="connsiteY34" fmla="*/ 6421192 h 6858000"/>
                <a:gd name="connsiteX35" fmla="*/ 5603981 w 8219860"/>
                <a:gd name="connsiteY35" fmla="*/ 6279592 h 6858000"/>
                <a:gd name="connsiteX36" fmla="*/ 5722615 w 8219860"/>
                <a:gd name="connsiteY36" fmla="*/ 6135503 h 6858000"/>
                <a:gd name="connsiteX37" fmla="*/ 5967636 w 8219860"/>
                <a:gd name="connsiteY37" fmla="*/ 5845135 h 6858000"/>
                <a:gd name="connsiteX38" fmla="*/ 6099583 w 8219860"/>
                <a:gd name="connsiteY38" fmla="*/ 5703828 h 6858000"/>
                <a:gd name="connsiteX39" fmla="*/ 6168189 w 8219860"/>
                <a:gd name="connsiteY39" fmla="*/ 5634490 h 6858000"/>
                <a:gd name="connsiteX40" fmla="*/ 6241769 w 8219860"/>
                <a:gd name="connsiteY40" fmla="*/ 5564129 h 6858000"/>
                <a:gd name="connsiteX41" fmla="*/ 6567684 w 8219860"/>
                <a:gd name="connsiteY41" fmla="*/ 5312962 h 6858000"/>
                <a:gd name="connsiteX42" fmla="*/ 6918466 w 8219860"/>
                <a:gd name="connsiteY42" fmla="*/ 5121628 h 6858000"/>
                <a:gd name="connsiteX43" fmla="*/ 7084202 w 8219860"/>
                <a:gd name="connsiteY43" fmla="*/ 5039856 h 6858000"/>
                <a:gd name="connsiteX44" fmla="*/ 7231508 w 8219860"/>
                <a:gd name="connsiteY44" fmla="*/ 4955159 h 6858000"/>
                <a:gd name="connsiteX45" fmla="*/ 7455757 w 8219860"/>
                <a:gd name="connsiteY45" fmla="*/ 4736907 h 6858000"/>
                <a:gd name="connsiteX46" fmla="*/ 7597796 w 8219860"/>
                <a:gd name="connsiteY46" fmla="*/ 4437761 h 6858000"/>
                <a:gd name="connsiteX47" fmla="*/ 7667720 w 8219860"/>
                <a:gd name="connsiteY47" fmla="*/ 4093562 h 6858000"/>
                <a:gd name="connsiteX48" fmla="*/ 7680008 w 8219860"/>
                <a:gd name="connsiteY48" fmla="*/ 3742632 h 6858000"/>
                <a:gd name="connsiteX49" fmla="*/ 7657188 w 8219860"/>
                <a:gd name="connsiteY49" fmla="*/ 3396237 h 6858000"/>
                <a:gd name="connsiteX50" fmla="*/ 7604818 w 8219860"/>
                <a:gd name="connsiteY50" fmla="*/ 3055255 h 6858000"/>
                <a:gd name="connsiteX51" fmla="*/ 7522900 w 8219860"/>
                <a:gd name="connsiteY51" fmla="*/ 2720270 h 6858000"/>
                <a:gd name="connsiteX52" fmla="*/ 7299968 w 8219860"/>
                <a:gd name="connsiteY52" fmla="*/ 2062442 h 6858000"/>
                <a:gd name="connsiteX53" fmla="*/ 6971566 w 8219860"/>
                <a:gd name="connsiteY53" fmla="*/ 1438698 h 6858000"/>
                <a:gd name="connsiteX54" fmla="*/ 6771307 w 8219860"/>
                <a:gd name="connsiteY54" fmla="*/ 1144380 h 6858000"/>
                <a:gd name="connsiteX55" fmla="*/ 6547935 w 8219860"/>
                <a:gd name="connsiteY55" fmla="*/ 865129 h 6858000"/>
                <a:gd name="connsiteX56" fmla="*/ 6037997 w 8219860"/>
                <a:gd name="connsiteY56" fmla="*/ 359872 h 6858000"/>
                <a:gd name="connsiteX57" fmla="*/ 5602369 w 8219860"/>
                <a:gd name="connsiteY57" fmla="*/ 40572 h 6858000"/>
                <a:gd name="connsiteX58" fmla="*/ 1689206 w 8219860"/>
                <a:gd name="connsiteY58" fmla="*/ 0 h 6858000"/>
                <a:gd name="connsiteX59" fmla="*/ 2580244 w 8219860"/>
                <a:gd name="connsiteY59" fmla="*/ 0 h 6858000"/>
                <a:gd name="connsiteX60" fmla="*/ 2556490 w 8219860"/>
                <a:gd name="connsiteY60" fmla="*/ 13997 h 6858000"/>
                <a:gd name="connsiteX61" fmla="*/ 2125407 w 8219860"/>
                <a:gd name="connsiteY61" fmla="*/ 323156 h 6858000"/>
                <a:gd name="connsiteX62" fmla="*/ 1859322 w 8219860"/>
                <a:gd name="connsiteY62" fmla="*/ 553842 h 6858000"/>
                <a:gd name="connsiteX63" fmla="*/ 1607425 w 8219860"/>
                <a:gd name="connsiteY63" fmla="*/ 799741 h 6858000"/>
                <a:gd name="connsiteX64" fmla="*/ 861829 w 8219860"/>
                <a:gd name="connsiteY64" fmla="*/ 1987400 h 6858000"/>
                <a:gd name="connsiteX65" fmla="*/ 661422 w 8219860"/>
                <a:gd name="connsiteY65" fmla="*/ 2660149 h 6858000"/>
                <a:gd name="connsiteX66" fmla="*/ 608323 w 8219860"/>
                <a:gd name="connsiteY66" fmla="*/ 3006544 h 6858000"/>
                <a:gd name="connsiteX67" fmla="*/ 584625 w 8219860"/>
                <a:gd name="connsiteY67" fmla="*/ 3355571 h 6858000"/>
                <a:gd name="connsiteX68" fmla="*/ 589891 w 8219860"/>
                <a:gd name="connsiteY68" fmla="*/ 3705330 h 6858000"/>
                <a:gd name="connsiteX69" fmla="*/ 623389 w 8219860"/>
                <a:gd name="connsiteY69" fmla="*/ 4053626 h 6858000"/>
                <a:gd name="connsiteX70" fmla="*/ 787078 w 8219860"/>
                <a:gd name="connsiteY70" fmla="*/ 4735736 h 6858000"/>
                <a:gd name="connsiteX71" fmla="*/ 1081251 w 8219860"/>
                <a:gd name="connsiteY71" fmla="*/ 5376742 h 6858000"/>
                <a:gd name="connsiteX72" fmla="*/ 1274196 w 8219860"/>
                <a:gd name="connsiteY72" fmla="*/ 5674278 h 6858000"/>
                <a:gd name="connsiteX73" fmla="*/ 1381274 w 8219860"/>
                <a:gd name="connsiteY73" fmla="*/ 5816170 h 6858000"/>
                <a:gd name="connsiteX74" fmla="*/ 1495959 w 8219860"/>
                <a:gd name="connsiteY74" fmla="*/ 5953677 h 6858000"/>
                <a:gd name="connsiteX75" fmla="*/ 2013356 w 8219860"/>
                <a:gd name="connsiteY75" fmla="*/ 6450448 h 6858000"/>
                <a:gd name="connsiteX76" fmla="*/ 2083865 w 8219860"/>
                <a:gd name="connsiteY76" fmla="*/ 6506327 h 6858000"/>
                <a:gd name="connsiteX77" fmla="*/ 2155688 w 8219860"/>
                <a:gd name="connsiteY77" fmla="*/ 6560744 h 6858000"/>
                <a:gd name="connsiteX78" fmla="*/ 2228537 w 8219860"/>
                <a:gd name="connsiteY78" fmla="*/ 6613844 h 6858000"/>
                <a:gd name="connsiteX79" fmla="*/ 2302700 w 8219860"/>
                <a:gd name="connsiteY79" fmla="*/ 6665190 h 6858000"/>
                <a:gd name="connsiteX80" fmla="*/ 2610915 w 8219860"/>
                <a:gd name="connsiteY80" fmla="*/ 6853454 h 6858000"/>
                <a:gd name="connsiteX81" fmla="*/ 2619731 w 8219860"/>
                <a:gd name="connsiteY81" fmla="*/ 6858000 h 6858000"/>
                <a:gd name="connsiteX82" fmla="*/ 1931408 w 8219860"/>
                <a:gd name="connsiteY82" fmla="*/ 6858000 h 6858000"/>
                <a:gd name="connsiteX83" fmla="*/ 1782231 w 8219860"/>
                <a:gd name="connsiteY83" fmla="*/ 6759101 h 6858000"/>
                <a:gd name="connsiteX84" fmla="*/ 1179844 w 8219860"/>
                <a:gd name="connsiteY84" fmla="*/ 6247262 h 6858000"/>
                <a:gd name="connsiteX85" fmla="*/ 677221 w 8219860"/>
                <a:gd name="connsiteY85" fmla="*/ 5628784 h 6858000"/>
                <a:gd name="connsiteX86" fmla="*/ 302740 w 8219860"/>
                <a:gd name="connsiteY86" fmla="*/ 4919612 h 6858000"/>
                <a:gd name="connsiteX87" fmla="*/ 71615 w 8219860"/>
                <a:gd name="connsiteY87" fmla="*/ 4147685 h 6858000"/>
                <a:gd name="connsiteX88" fmla="*/ 14420 w 8219860"/>
                <a:gd name="connsiteY88" fmla="*/ 3747313 h 6858000"/>
                <a:gd name="connsiteX89" fmla="*/ 815 w 8219860"/>
                <a:gd name="connsiteY89" fmla="*/ 3342991 h 6858000"/>
                <a:gd name="connsiteX90" fmla="*/ 29340 w 8219860"/>
                <a:gd name="connsiteY90" fmla="*/ 2939692 h 6858000"/>
                <a:gd name="connsiteX91" fmla="*/ 97946 w 8219860"/>
                <a:gd name="connsiteY91" fmla="*/ 2541660 h 6858000"/>
                <a:gd name="connsiteX92" fmla="*/ 341358 w 8219860"/>
                <a:gd name="connsiteY92" fmla="*/ 1774268 h 6858000"/>
                <a:gd name="connsiteX93" fmla="*/ 1212758 w 8219860"/>
                <a:gd name="connsiteY93" fmla="*/ 432721 h 6858000"/>
                <a:gd name="connsiteX94" fmla="*/ 1499908 w 8219860"/>
                <a:gd name="connsiteY94" fmla="*/ 150982 h 6858000"/>
                <a:gd name="connsiteX95" fmla="*/ 1655863 w 8219860"/>
                <a:gd name="connsiteY95" fmla="*/ 2359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8219860" h="6858000">
                  <a:moveTo>
                    <a:pt x="5534366" y="0"/>
                  </a:moveTo>
                  <a:lnTo>
                    <a:pt x="6263243" y="0"/>
                  </a:lnTo>
                  <a:lnTo>
                    <a:pt x="6295307" y="21377"/>
                  </a:lnTo>
                  <a:cubicBezTo>
                    <a:pt x="6511218" y="172340"/>
                    <a:pt x="6716597" y="339247"/>
                    <a:pt x="6907056" y="522976"/>
                  </a:cubicBezTo>
                  <a:cubicBezTo>
                    <a:pt x="7097514" y="706706"/>
                    <a:pt x="7274807" y="905503"/>
                    <a:pt x="7434107" y="1119513"/>
                  </a:cubicBezTo>
                  <a:cubicBezTo>
                    <a:pt x="7593992" y="1333084"/>
                    <a:pt x="7735155" y="1562014"/>
                    <a:pt x="7856130" y="1802940"/>
                  </a:cubicBezTo>
                  <a:cubicBezTo>
                    <a:pt x="7916105" y="1923621"/>
                    <a:pt x="7970376" y="2047668"/>
                    <a:pt x="8019380" y="2174201"/>
                  </a:cubicBezTo>
                  <a:cubicBezTo>
                    <a:pt x="8031375" y="2205944"/>
                    <a:pt x="8043808" y="2237541"/>
                    <a:pt x="8054634" y="2269723"/>
                  </a:cubicBezTo>
                  <a:lnTo>
                    <a:pt x="8086962" y="2366562"/>
                  </a:lnTo>
                  <a:lnTo>
                    <a:pt x="8115633" y="2464717"/>
                  </a:lnTo>
                  <a:cubicBezTo>
                    <a:pt x="8124995" y="2497484"/>
                    <a:pt x="8132602" y="2530836"/>
                    <a:pt x="8140794" y="2563895"/>
                  </a:cubicBezTo>
                  <a:cubicBezTo>
                    <a:pt x="8203402" y="2829836"/>
                    <a:pt x="8225636" y="3105576"/>
                    <a:pt x="8218615" y="3378975"/>
                  </a:cubicBezTo>
                  <a:cubicBezTo>
                    <a:pt x="8214958" y="3515749"/>
                    <a:pt x="8200476" y="3652229"/>
                    <a:pt x="8175170" y="3786370"/>
                  </a:cubicBezTo>
                  <a:cubicBezTo>
                    <a:pt x="8149716" y="3920510"/>
                    <a:pt x="8114462" y="4052163"/>
                    <a:pt x="8073943" y="4180891"/>
                  </a:cubicBezTo>
                  <a:cubicBezTo>
                    <a:pt x="8033570" y="4309911"/>
                    <a:pt x="7990270" y="4435421"/>
                    <a:pt x="7939071" y="4562246"/>
                  </a:cubicBezTo>
                  <a:cubicBezTo>
                    <a:pt x="7913472" y="4625587"/>
                    <a:pt x="7885678" y="4688926"/>
                    <a:pt x="7854229" y="4751828"/>
                  </a:cubicBezTo>
                  <a:cubicBezTo>
                    <a:pt x="7822193" y="4814437"/>
                    <a:pt x="7786792" y="4876752"/>
                    <a:pt x="7745102" y="4936435"/>
                  </a:cubicBezTo>
                  <a:cubicBezTo>
                    <a:pt x="7703998" y="4996411"/>
                    <a:pt x="7657040" y="5053899"/>
                    <a:pt x="7605403" y="5106852"/>
                  </a:cubicBezTo>
                  <a:cubicBezTo>
                    <a:pt x="7579512" y="5133183"/>
                    <a:pt x="7552596" y="5158489"/>
                    <a:pt x="7524949" y="5182481"/>
                  </a:cubicBezTo>
                  <a:cubicBezTo>
                    <a:pt x="7497301" y="5206323"/>
                    <a:pt x="7468776" y="5228704"/>
                    <a:pt x="7440106" y="5250208"/>
                  </a:cubicBezTo>
                  <a:cubicBezTo>
                    <a:pt x="7324836" y="5335930"/>
                    <a:pt x="7208103" y="5400146"/>
                    <a:pt x="7101758" y="5463633"/>
                  </a:cubicBezTo>
                  <a:cubicBezTo>
                    <a:pt x="6994825" y="5526533"/>
                    <a:pt x="6896230" y="5588996"/>
                    <a:pt x="6804366" y="5657895"/>
                  </a:cubicBezTo>
                  <a:cubicBezTo>
                    <a:pt x="6758141" y="5691978"/>
                    <a:pt x="6713965" y="5728110"/>
                    <a:pt x="6671103" y="5765704"/>
                  </a:cubicBezTo>
                  <a:cubicBezTo>
                    <a:pt x="6627952" y="5802860"/>
                    <a:pt x="6586408" y="5842209"/>
                    <a:pt x="6545887" y="5882583"/>
                  </a:cubicBezTo>
                  <a:cubicBezTo>
                    <a:pt x="6525407" y="5903062"/>
                    <a:pt x="6506245" y="5923103"/>
                    <a:pt x="6485473" y="5945046"/>
                  </a:cubicBezTo>
                  <a:lnTo>
                    <a:pt x="6423303" y="6011604"/>
                  </a:lnTo>
                  <a:lnTo>
                    <a:pt x="6298672" y="6146768"/>
                  </a:lnTo>
                  <a:cubicBezTo>
                    <a:pt x="6214853" y="6237315"/>
                    <a:pt x="6128400" y="6327572"/>
                    <a:pt x="6040923" y="6418997"/>
                  </a:cubicBezTo>
                  <a:cubicBezTo>
                    <a:pt x="5997186" y="6464637"/>
                    <a:pt x="5952569" y="6510130"/>
                    <a:pt x="5907662" y="6555769"/>
                  </a:cubicBezTo>
                  <a:cubicBezTo>
                    <a:pt x="5862460" y="6601118"/>
                    <a:pt x="5816528" y="6646172"/>
                    <a:pt x="5769864" y="6691081"/>
                  </a:cubicBezTo>
                  <a:lnTo>
                    <a:pt x="5581270" y="6858000"/>
                  </a:lnTo>
                  <a:lnTo>
                    <a:pt x="5057635" y="6858000"/>
                  </a:lnTo>
                  <a:lnTo>
                    <a:pt x="5112401" y="6812805"/>
                  </a:lnTo>
                  <a:cubicBezTo>
                    <a:pt x="5156505" y="6773364"/>
                    <a:pt x="5199439" y="6732113"/>
                    <a:pt x="5241495" y="6689617"/>
                  </a:cubicBezTo>
                  <a:cubicBezTo>
                    <a:pt x="5325753" y="6604628"/>
                    <a:pt x="5405916" y="6513934"/>
                    <a:pt x="5485639" y="6421192"/>
                  </a:cubicBezTo>
                  <a:cubicBezTo>
                    <a:pt x="5525427" y="6374674"/>
                    <a:pt x="5564631" y="6327425"/>
                    <a:pt x="5603981" y="6279592"/>
                  </a:cubicBezTo>
                  <a:lnTo>
                    <a:pt x="5722615" y="6135503"/>
                  </a:lnTo>
                  <a:cubicBezTo>
                    <a:pt x="5802339" y="6038957"/>
                    <a:pt x="5882062" y="5940510"/>
                    <a:pt x="5967636" y="5845135"/>
                  </a:cubicBezTo>
                  <a:cubicBezTo>
                    <a:pt x="6010496" y="5797446"/>
                    <a:pt x="6054381" y="5750345"/>
                    <a:pt x="6099583" y="5703828"/>
                  </a:cubicBezTo>
                  <a:lnTo>
                    <a:pt x="6168189" y="5634490"/>
                  </a:lnTo>
                  <a:cubicBezTo>
                    <a:pt x="6191300" y="5611524"/>
                    <a:pt x="6216754" y="5587094"/>
                    <a:pt x="6241769" y="5564129"/>
                  </a:cubicBezTo>
                  <a:cubicBezTo>
                    <a:pt x="6342117" y="5470948"/>
                    <a:pt x="6452414" y="5386688"/>
                    <a:pt x="6567684" y="5312962"/>
                  </a:cubicBezTo>
                  <a:cubicBezTo>
                    <a:pt x="6682806" y="5238945"/>
                    <a:pt x="6803635" y="5177360"/>
                    <a:pt x="6918466" y="5121628"/>
                  </a:cubicBezTo>
                  <a:cubicBezTo>
                    <a:pt x="6975808" y="5093833"/>
                    <a:pt x="7031688" y="5067211"/>
                    <a:pt x="7084202" y="5039856"/>
                  </a:cubicBezTo>
                  <a:cubicBezTo>
                    <a:pt x="7136864" y="5012793"/>
                    <a:pt x="7186453" y="4985439"/>
                    <a:pt x="7231508" y="4955159"/>
                  </a:cubicBezTo>
                  <a:cubicBezTo>
                    <a:pt x="7322202" y="4895476"/>
                    <a:pt x="7395635" y="4824530"/>
                    <a:pt x="7455757" y="4736907"/>
                  </a:cubicBezTo>
                  <a:cubicBezTo>
                    <a:pt x="7515440" y="4649431"/>
                    <a:pt x="7562543" y="4547326"/>
                    <a:pt x="7597796" y="4437761"/>
                  </a:cubicBezTo>
                  <a:cubicBezTo>
                    <a:pt x="7632758" y="4328343"/>
                    <a:pt x="7655139" y="4210293"/>
                    <a:pt x="7667720" y="4093562"/>
                  </a:cubicBezTo>
                  <a:cubicBezTo>
                    <a:pt x="7679860" y="3976389"/>
                    <a:pt x="7682494" y="3858925"/>
                    <a:pt x="7680008" y="3742632"/>
                  </a:cubicBezTo>
                  <a:cubicBezTo>
                    <a:pt x="7676350" y="3626192"/>
                    <a:pt x="7668451" y="3510776"/>
                    <a:pt x="7657188" y="3396237"/>
                  </a:cubicBezTo>
                  <a:cubicBezTo>
                    <a:pt x="7645923" y="3281699"/>
                    <a:pt x="7628808" y="3167745"/>
                    <a:pt x="7604818" y="3055255"/>
                  </a:cubicBezTo>
                  <a:cubicBezTo>
                    <a:pt x="7581120" y="2942618"/>
                    <a:pt x="7552888" y="2831298"/>
                    <a:pt x="7522900" y="2720270"/>
                  </a:cubicBezTo>
                  <a:cubicBezTo>
                    <a:pt x="7462926" y="2498361"/>
                    <a:pt x="7392418" y="2277038"/>
                    <a:pt x="7299968" y="2062442"/>
                  </a:cubicBezTo>
                  <a:cubicBezTo>
                    <a:pt x="7207518" y="1847847"/>
                    <a:pt x="7097514" y="1639104"/>
                    <a:pt x="6971566" y="1438698"/>
                  </a:cubicBezTo>
                  <a:cubicBezTo>
                    <a:pt x="6908226" y="1338642"/>
                    <a:pt x="6841668" y="1240340"/>
                    <a:pt x="6771307" y="1144380"/>
                  </a:cubicBezTo>
                  <a:cubicBezTo>
                    <a:pt x="6700945" y="1048419"/>
                    <a:pt x="6625903" y="955677"/>
                    <a:pt x="6547935" y="865129"/>
                  </a:cubicBezTo>
                  <a:cubicBezTo>
                    <a:pt x="6392438" y="683740"/>
                    <a:pt x="6221873" y="514199"/>
                    <a:pt x="6037997" y="359872"/>
                  </a:cubicBezTo>
                  <a:cubicBezTo>
                    <a:pt x="5900420" y="243689"/>
                    <a:pt x="5754861" y="136638"/>
                    <a:pt x="5602369" y="40572"/>
                  </a:cubicBezTo>
                  <a:close/>
                  <a:moveTo>
                    <a:pt x="1689206" y="0"/>
                  </a:moveTo>
                  <a:lnTo>
                    <a:pt x="2580244" y="0"/>
                  </a:lnTo>
                  <a:lnTo>
                    <a:pt x="2556490" y="13997"/>
                  </a:lnTo>
                  <a:cubicBezTo>
                    <a:pt x="2405637" y="107875"/>
                    <a:pt x="2262108" y="212018"/>
                    <a:pt x="2125407" y="323156"/>
                  </a:cubicBezTo>
                  <a:cubicBezTo>
                    <a:pt x="2033982" y="397174"/>
                    <a:pt x="1946944" y="475874"/>
                    <a:pt x="1859322" y="553842"/>
                  </a:cubicBezTo>
                  <a:cubicBezTo>
                    <a:pt x="1771699" y="631664"/>
                    <a:pt x="1686271" y="712557"/>
                    <a:pt x="1607425" y="799741"/>
                  </a:cubicBezTo>
                  <a:cubicBezTo>
                    <a:pt x="1289847" y="1146281"/>
                    <a:pt x="1036342" y="1551627"/>
                    <a:pt x="861829" y="1987400"/>
                  </a:cubicBezTo>
                  <a:cubicBezTo>
                    <a:pt x="774499" y="2205213"/>
                    <a:pt x="707062" y="2430780"/>
                    <a:pt x="661422" y="2660149"/>
                  </a:cubicBezTo>
                  <a:cubicBezTo>
                    <a:pt x="638750" y="2774834"/>
                    <a:pt x="621196" y="2890541"/>
                    <a:pt x="608323" y="3006544"/>
                  </a:cubicBezTo>
                  <a:cubicBezTo>
                    <a:pt x="595888" y="3122545"/>
                    <a:pt x="587990" y="3239131"/>
                    <a:pt x="584625" y="3355571"/>
                  </a:cubicBezTo>
                  <a:cubicBezTo>
                    <a:pt x="581699" y="3472156"/>
                    <a:pt x="582578" y="3588890"/>
                    <a:pt x="589891" y="3705330"/>
                  </a:cubicBezTo>
                  <a:cubicBezTo>
                    <a:pt x="595742" y="3821770"/>
                    <a:pt x="607591" y="3937917"/>
                    <a:pt x="623389" y="4053626"/>
                  </a:cubicBezTo>
                  <a:cubicBezTo>
                    <a:pt x="655864" y="4284896"/>
                    <a:pt x="709988" y="4513828"/>
                    <a:pt x="787078" y="4735736"/>
                  </a:cubicBezTo>
                  <a:cubicBezTo>
                    <a:pt x="864023" y="4957499"/>
                    <a:pt x="962324" y="5172825"/>
                    <a:pt x="1081251" y="5376742"/>
                  </a:cubicBezTo>
                  <a:cubicBezTo>
                    <a:pt x="1140934" y="5478553"/>
                    <a:pt x="1205152" y="5578172"/>
                    <a:pt x="1274196" y="5674278"/>
                  </a:cubicBezTo>
                  <a:cubicBezTo>
                    <a:pt x="1308571" y="5722552"/>
                    <a:pt x="1344557" y="5769654"/>
                    <a:pt x="1381274" y="5816170"/>
                  </a:cubicBezTo>
                  <a:cubicBezTo>
                    <a:pt x="1418575" y="5862543"/>
                    <a:pt x="1456608" y="5908622"/>
                    <a:pt x="1495959" y="5953677"/>
                  </a:cubicBezTo>
                  <a:cubicBezTo>
                    <a:pt x="1652919" y="6133894"/>
                    <a:pt x="1826555" y="6300071"/>
                    <a:pt x="2013356" y="6450448"/>
                  </a:cubicBezTo>
                  <a:cubicBezTo>
                    <a:pt x="2037053" y="6468879"/>
                    <a:pt x="2060020" y="6488188"/>
                    <a:pt x="2083865" y="6506327"/>
                  </a:cubicBezTo>
                  <a:lnTo>
                    <a:pt x="2155688" y="6560744"/>
                  </a:lnTo>
                  <a:lnTo>
                    <a:pt x="2228537" y="6613844"/>
                  </a:lnTo>
                  <a:lnTo>
                    <a:pt x="2302700" y="6665190"/>
                  </a:lnTo>
                  <a:cubicBezTo>
                    <a:pt x="2402465" y="6732186"/>
                    <a:pt x="2505008" y="6795525"/>
                    <a:pt x="2610915" y="6853454"/>
                  </a:cubicBezTo>
                  <a:lnTo>
                    <a:pt x="2619731" y="6858000"/>
                  </a:lnTo>
                  <a:lnTo>
                    <a:pt x="1931408" y="6858000"/>
                  </a:lnTo>
                  <a:lnTo>
                    <a:pt x="1782231" y="6759101"/>
                  </a:lnTo>
                  <a:cubicBezTo>
                    <a:pt x="1566612" y="6607846"/>
                    <a:pt x="1365329" y="6435527"/>
                    <a:pt x="1179844" y="6247262"/>
                  </a:cubicBezTo>
                  <a:cubicBezTo>
                    <a:pt x="994506" y="6059437"/>
                    <a:pt x="824235" y="5851280"/>
                    <a:pt x="677221" y="5628784"/>
                  </a:cubicBezTo>
                  <a:cubicBezTo>
                    <a:pt x="530062" y="5405851"/>
                    <a:pt x="404700" y="5167998"/>
                    <a:pt x="302740" y="4919612"/>
                  </a:cubicBezTo>
                  <a:cubicBezTo>
                    <a:pt x="200636" y="4671373"/>
                    <a:pt x="123692" y="4412162"/>
                    <a:pt x="71615" y="4147685"/>
                  </a:cubicBezTo>
                  <a:cubicBezTo>
                    <a:pt x="45285" y="4015446"/>
                    <a:pt x="26854" y="3881599"/>
                    <a:pt x="14420" y="3747313"/>
                  </a:cubicBezTo>
                  <a:cubicBezTo>
                    <a:pt x="3595" y="3612880"/>
                    <a:pt x="-2256" y="3477862"/>
                    <a:pt x="815" y="3342991"/>
                  </a:cubicBezTo>
                  <a:cubicBezTo>
                    <a:pt x="3156" y="3208119"/>
                    <a:pt x="12811" y="3073394"/>
                    <a:pt x="29340" y="2939692"/>
                  </a:cubicBezTo>
                  <a:cubicBezTo>
                    <a:pt x="45578" y="2805845"/>
                    <a:pt x="68690" y="2673022"/>
                    <a:pt x="97946" y="2541660"/>
                  </a:cubicBezTo>
                  <a:cubicBezTo>
                    <a:pt x="156167" y="2278939"/>
                    <a:pt x="237791" y="2021777"/>
                    <a:pt x="341358" y="1774268"/>
                  </a:cubicBezTo>
                  <a:cubicBezTo>
                    <a:pt x="548640" y="1279252"/>
                    <a:pt x="844567" y="822415"/>
                    <a:pt x="1212758" y="432721"/>
                  </a:cubicBezTo>
                  <a:cubicBezTo>
                    <a:pt x="1305208" y="335736"/>
                    <a:pt x="1399705" y="240506"/>
                    <a:pt x="1499908" y="150982"/>
                  </a:cubicBezTo>
                  <a:cubicBezTo>
                    <a:pt x="1550010" y="106294"/>
                    <a:pt x="1602232" y="64018"/>
                    <a:pt x="1655863" y="2359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 useBgFill="1">
          <p:nvSpPr>
            <p:cNvPr id="14" name="Freeform: Shape 13">
              <a:extLst>
                <a:ext uri="{FF2B5EF4-FFF2-40B4-BE49-F238E27FC236}">
                  <a16:creationId xmlns:a16="http://schemas.microsoft.com/office/drawing/2014/main" id="{362E9153-EF9E-1670-5B6A-489949BA436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65807" y="-3810"/>
              <a:ext cx="8870393" cy="6858000"/>
            </a:xfrm>
            <a:custGeom>
              <a:avLst/>
              <a:gdLst>
                <a:gd name="connsiteX0" fmla="*/ 6200652 w 8899328"/>
                <a:gd name="connsiteY0" fmla="*/ 0 h 6858000"/>
                <a:gd name="connsiteX1" fmla="*/ 7036991 w 8899328"/>
                <a:gd name="connsiteY1" fmla="*/ 0 h 6858000"/>
                <a:gd name="connsiteX2" fmla="*/ 7111956 w 8899328"/>
                <a:gd name="connsiteY2" fmla="*/ 52444 h 6858000"/>
                <a:gd name="connsiteX3" fmla="*/ 8899328 w 8899328"/>
                <a:gd name="connsiteY3" fmla="*/ 3560285 h 6858000"/>
                <a:gd name="connsiteX4" fmla="*/ 7441506 w 8899328"/>
                <a:gd name="connsiteY4" fmla="*/ 6800585 h 6858000"/>
                <a:gd name="connsiteX5" fmla="*/ 7374130 w 8899328"/>
                <a:gd name="connsiteY5" fmla="*/ 6858000 h 6858000"/>
                <a:gd name="connsiteX6" fmla="*/ 5835221 w 8899328"/>
                <a:gd name="connsiteY6" fmla="*/ 6858000 h 6858000"/>
                <a:gd name="connsiteX7" fmla="*/ 5891385 w 8899328"/>
                <a:gd name="connsiteY7" fmla="*/ 6810175 h 6858000"/>
                <a:gd name="connsiteX8" fmla="*/ 6032854 w 8899328"/>
                <a:gd name="connsiteY8" fmla="*/ 6677494 h 6858000"/>
                <a:gd name="connsiteX9" fmla="*/ 6170584 w 8899328"/>
                <a:gd name="connsiteY9" fmla="*/ 6539762 h 6858000"/>
                <a:gd name="connsiteX10" fmla="*/ 6305296 w 8899328"/>
                <a:gd name="connsiteY10" fmla="*/ 6398150 h 6858000"/>
                <a:gd name="connsiteX11" fmla="*/ 6572709 w 8899328"/>
                <a:gd name="connsiteY11" fmla="*/ 6110468 h 6858000"/>
                <a:gd name="connsiteX12" fmla="*/ 6707707 w 8899328"/>
                <a:gd name="connsiteY12" fmla="*/ 5966410 h 6858000"/>
                <a:gd name="connsiteX13" fmla="*/ 6846876 w 8899328"/>
                <a:gd name="connsiteY13" fmla="*/ 5823934 h 6858000"/>
                <a:gd name="connsiteX14" fmla="*/ 7497863 w 8899328"/>
                <a:gd name="connsiteY14" fmla="*/ 5348633 h 6858000"/>
                <a:gd name="connsiteX15" fmla="*/ 7825226 w 8899328"/>
                <a:gd name="connsiteY15" fmla="*/ 5147788 h 6858000"/>
                <a:gd name="connsiteX16" fmla="*/ 8071216 w 8899328"/>
                <a:gd name="connsiteY16" fmla="*/ 4893890 h 6858000"/>
                <a:gd name="connsiteX17" fmla="*/ 8224043 w 8899328"/>
                <a:gd name="connsiteY17" fmla="*/ 4570985 h 6858000"/>
                <a:gd name="connsiteX18" fmla="*/ 8315049 w 8899328"/>
                <a:gd name="connsiteY18" fmla="*/ 4212279 h 6858000"/>
                <a:gd name="connsiteX19" fmla="*/ 8330721 w 8899328"/>
                <a:gd name="connsiteY19" fmla="*/ 4120699 h 6858000"/>
                <a:gd name="connsiteX20" fmla="*/ 8343947 w 8899328"/>
                <a:gd name="connsiteY20" fmla="*/ 4028973 h 6858000"/>
                <a:gd name="connsiteX21" fmla="*/ 8353867 w 8899328"/>
                <a:gd name="connsiteY21" fmla="*/ 3936961 h 6858000"/>
                <a:gd name="connsiteX22" fmla="*/ 8361055 w 8899328"/>
                <a:gd name="connsiteY22" fmla="*/ 3844661 h 6858000"/>
                <a:gd name="connsiteX23" fmla="*/ 8365083 w 8899328"/>
                <a:gd name="connsiteY23" fmla="*/ 3475748 h 6858000"/>
                <a:gd name="connsiteX24" fmla="*/ 8359475 w 8899328"/>
                <a:gd name="connsiteY24" fmla="*/ 3383736 h 6858000"/>
                <a:gd name="connsiteX25" fmla="*/ 8350992 w 8899328"/>
                <a:gd name="connsiteY25" fmla="*/ 3292012 h 6858000"/>
                <a:gd name="connsiteX26" fmla="*/ 8340497 w 8899328"/>
                <a:gd name="connsiteY26" fmla="*/ 3200431 h 6858000"/>
                <a:gd name="connsiteX27" fmla="*/ 8327557 w 8899328"/>
                <a:gd name="connsiteY27" fmla="*/ 3109137 h 6858000"/>
                <a:gd name="connsiteX28" fmla="*/ 8252222 w 8899328"/>
                <a:gd name="connsiteY28" fmla="*/ 2747843 h 6858000"/>
                <a:gd name="connsiteX29" fmla="*/ 7998038 w 8899328"/>
                <a:gd name="connsiteY29" fmla="*/ 2051137 h 6858000"/>
                <a:gd name="connsiteX30" fmla="*/ 7825803 w 8899328"/>
                <a:gd name="connsiteY30" fmla="*/ 1719174 h 6858000"/>
                <a:gd name="connsiteX31" fmla="*/ 7627401 w 8899328"/>
                <a:gd name="connsiteY31" fmla="*/ 1399431 h 6858000"/>
                <a:gd name="connsiteX32" fmla="*/ 7404557 w 8899328"/>
                <a:gd name="connsiteY32" fmla="*/ 1093490 h 6858000"/>
                <a:gd name="connsiteX33" fmla="*/ 7157849 w 8899328"/>
                <a:gd name="connsiteY33" fmla="*/ 803362 h 6858000"/>
                <a:gd name="connsiteX34" fmla="*/ 6889001 w 8899328"/>
                <a:gd name="connsiteY34" fmla="*/ 530489 h 6858000"/>
                <a:gd name="connsiteX35" fmla="*/ 6597149 w 8899328"/>
                <a:gd name="connsiteY35" fmla="*/ 279180 h 6858000"/>
                <a:gd name="connsiteX36" fmla="*/ 6283731 w 8899328"/>
                <a:gd name="connsiteY36" fmla="*/ 51736 h 6858000"/>
                <a:gd name="connsiteX37" fmla="*/ 1862338 w 8899328"/>
                <a:gd name="connsiteY37" fmla="*/ 0 h 6858000"/>
                <a:gd name="connsiteX38" fmla="*/ 2555184 w 8899328"/>
                <a:gd name="connsiteY38" fmla="*/ 0 h 6858000"/>
                <a:gd name="connsiteX39" fmla="*/ 2420890 w 8899328"/>
                <a:gd name="connsiteY39" fmla="*/ 86030 h 6858000"/>
                <a:gd name="connsiteX40" fmla="*/ 1703381 w 8899328"/>
                <a:gd name="connsiteY40" fmla="*/ 715375 h 6858000"/>
                <a:gd name="connsiteX41" fmla="*/ 923719 w 8899328"/>
                <a:gd name="connsiteY41" fmla="*/ 1986010 h 6858000"/>
                <a:gd name="connsiteX42" fmla="*/ 717122 w 8899328"/>
                <a:gd name="connsiteY42" fmla="*/ 2694936 h 6858000"/>
                <a:gd name="connsiteX43" fmla="*/ 646244 w 8899328"/>
                <a:gd name="connsiteY43" fmla="*/ 3427730 h 6858000"/>
                <a:gd name="connsiteX44" fmla="*/ 707346 w 8899328"/>
                <a:gd name="connsiteY44" fmla="*/ 4160522 h 6858000"/>
                <a:gd name="connsiteX45" fmla="*/ 902872 w 8899328"/>
                <a:gd name="connsiteY45" fmla="*/ 4869880 h 6858000"/>
                <a:gd name="connsiteX46" fmla="*/ 1677359 w 8899328"/>
                <a:gd name="connsiteY46" fmla="*/ 6124701 h 6858000"/>
                <a:gd name="connsiteX47" fmla="*/ 2547624 w 8899328"/>
                <a:gd name="connsiteY47" fmla="*/ 6829930 h 6858000"/>
                <a:gd name="connsiteX48" fmla="*/ 2596857 w 8899328"/>
                <a:gd name="connsiteY48" fmla="*/ 6858000 h 6858000"/>
                <a:gd name="connsiteX49" fmla="*/ 1525198 w 8899328"/>
                <a:gd name="connsiteY49" fmla="*/ 6858000 h 6858000"/>
                <a:gd name="connsiteX50" fmla="*/ 1457823 w 8899328"/>
                <a:gd name="connsiteY50" fmla="*/ 6800585 h 6858000"/>
                <a:gd name="connsiteX51" fmla="*/ 0 w 8899328"/>
                <a:gd name="connsiteY51" fmla="*/ 3560285 h 6858000"/>
                <a:gd name="connsiteX52" fmla="*/ 1787372 w 8899328"/>
                <a:gd name="connsiteY52" fmla="*/ 5244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899328" h="6858000">
                  <a:moveTo>
                    <a:pt x="6200652" y="0"/>
                  </a:moveTo>
                  <a:lnTo>
                    <a:pt x="7036991" y="0"/>
                  </a:lnTo>
                  <a:lnTo>
                    <a:pt x="7111956" y="52444"/>
                  </a:lnTo>
                  <a:cubicBezTo>
                    <a:pt x="8196995" y="850732"/>
                    <a:pt x="8899328" y="2124819"/>
                    <a:pt x="8899328" y="3560285"/>
                  </a:cubicBezTo>
                  <a:cubicBezTo>
                    <a:pt x="8899328" y="4844649"/>
                    <a:pt x="8337073" y="5999820"/>
                    <a:pt x="7441506" y="6800585"/>
                  </a:cubicBezTo>
                  <a:lnTo>
                    <a:pt x="7374130" y="6858000"/>
                  </a:lnTo>
                  <a:lnTo>
                    <a:pt x="5835221" y="6858000"/>
                  </a:lnTo>
                  <a:lnTo>
                    <a:pt x="5891385" y="6810175"/>
                  </a:lnTo>
                  <a:cubicBezTo>
                    <a:pt x="5939440" y="6767098"/>
                    <a:pt x="5986561" y="6722781"/>
                    <a:pt x="6032854" y="6677494"/>
                  </a:cubicBezTo>
                  <a:cubicBezTo>
                    <a:pt x="6079290" y="6632350"/>
                    <a:pt x="6125297" y="6586487"/>
                    <a:pt x="6170584" y="6539762"/>
                  </a:cubicBezTo>
                  <a:cubicBezTo>
                    <a:pt x="6215872" y="6493038"/>
                    <a:pt x="6260585" y="6445738"/>
                    <a:pt x="6305296" y="6398150"/>
                  </a:cubicBezTo>
                  <a:cubicBezTo>
                    <a:pt x="6394865" y="6303119"/>
                    <a:pt x="6483283" y="6206649"/>
                    <a:pt x="6572709" y="6110468"/>
                  </a:cubicBezTo>
                  <a:lnTo>
                    <a:pt x="6707707" y="5966410"/>
                  </a:lnTo>
                  <a:cubicBezTo>
                    <a:pt x="6752995" y="5918535"/>
                    <a:pt x="6798426" y="5871090"/>
                    <a:pt x="6846876" y="5823934"/>
                  </a:cubicBezTo>
                  <a:cubicBezTo>
                    <a:pt x="7037227" y="5634303"/>
                    <a:pt x="7265821" y="5478169"/>
                    <a:pt x="7497863" y="5348633"/>
                  </a:cubicBezTo>
                  <a:cubicBezTo>
                    <a:pt x="7612735" y="5282499"/>
                    <a:pt x="7726745" y="5220534"/>
                    <a:pt x="7825226" y="5147788"/>
                  </a:cubicBezTo>
                  <a:cubicBezTo>
                    <a:pt x="7924139" y="5075471"/>
                    <a:pt x="8006807" y="4992085"/>
                    <a:pt x="8071216" y="4893890"/>
                  </a:cubicBezTo>
                  <a:cubicBezTo>
                    <a:pt x="8136631" y="4796702"/>
                    <a:pt x="8185081" y="4686430"/>
                    <a:pt x="8224043" y="4570985"/>
                  </a:cubicBezTo>
                  <a:cubicBezTo>
                    <a:pt x="8263005" y="4455537"/>
                    <a:pt x="8292046" y="4334053"/>
                    <a:pt x="8315049" y="4212279"/>
                  </a:cubicBezTo>
                  <a:cubicBezTo>
                    <a:pt x="8320225" y="4181657"/>
                    <a:pt x="8326407" y="4151321"/>
                    <a:pt x="8330721" y="4120699"/>
                  </a:cubicBezTo>
                  <a:lnTo>
                    <a:pt x="8343947" y="4028973"/>
                  </a:lnTo>
                  <a:lnTo>
                    <a:pt x="8353867" y="3936961"/>
                  </a:lnTo>
                  <a:cubicBezTo>
                    <a:pt x="8357605" y="3906338"/>
                    <a:pt x="8358468" y="3875427"/>
                    <a:pt x="8361055" y="3844661"/>
                  </a:cubicBezTo>
                  <a:cubicBezTo>
                    <a:pt x="8369825" y="3721738"/>
                    <a:pt x="8369969" y="3598527"/>
                    <a:pt x="8365083" y="3475748"/>
                  </a:cubicBezTo>
                  <a:lnTo>
                    <a:pt x="8359475" y="3383736"/>
                  </a:lnTo>
                  <a:cubicBezTo>
                    <a:pt x="8357031" y="3353114"/>
                    <a:pt x="8353723" y="3322634"/>
                    <a:pt x="8350992" y="3292012"/>
                  </a:cubicBezTo>
                  <a:cubicBezTo>
                    <a:pt x="8348549" y="3261388"/>
                    <a:pt x="8343947" y="3230909"/>
                    <a:pt x="8340497" y="3200431"/>
                  </a:cubicBezTo>
                  <a:cubicBezTo>
                    <a:pt x="8337333" y="3169807"/>
                    <a:pt x="8332301" y="3139471"/>
                    <a:pt x="8327557" y="3109137"/>
                  </a:cubicBezTo>
                  <a:cubicBezTo>
                    <a:pt x="8308293" y="2987651"/>
                    <a:pt x="8283133" y="2867173"/>
                    <a:pt x="8252222" y="2747843"/>
                  </a:cubicBezTo>
                  <a:cubicBezTo>
                    <a:pt x="8188963" y="2509618"/>
                    <a:pt x="8103565" y="2276424"/>
                    <a:pt x="7998038" y="2051137"/>
                  </a:cubicBezTo>
                  <a:cubicBezTo>
                    <a:pt x="7945131" y="1938709"/>
                    <a:pt x="7887767" y="1827864"/>
                    <a:pt x="7825803" y="1719174"/>
                  </a:cubicBezTo>
                  <a:cubicBezTo>
                    <a:pt x="7764413" y="1610196"/>
                    <a:pt x="7697704" y="1503807"/>
                    <a:pt x="7627401" y="1399431"/>
                  </a:cubicBezTo>
                  <a:cubicBezTo>
                    <a:pt x="7557241" y="1295054"/>
                    <a:pt x="7482337" y="1193408"/>
                    <a:pt x="7404557" y="1093490"/>
                  </a:cubicBezTo>
                  <a:cubicBezTo>
                    <a:pt x="7326203" y="994145"/>
                    <a:pt x="7243824" y="897388"/>
                    <a:pt x="7157849" y="803362"/>
                  </a:cubicBezTo>
                  <a:cubicBezTo>
                    <a:pt x="7071731" y="709624"/>
                    <a:pt x="6982739" y="617755"/>
                    <a:pt x="6889001" y="530489"/>
                  </a:cubicBezTo>
                  <a:cubicBezTo>
                    <a:pt x="6795407" y="443077"/>
                    <a:pt x="6698076" y="359115"/>
                    <a:pt x="6597149" y="279180"/>
                  </a:cubicBezTo>
                  <a:cubicBezTo>
                    <a:pt x="6496223" y="199244"/>
                    <a:pt x="6391846" y="122902"/>
                    <a:pt x="6283731" y="51736"/>
                  </a:cubicBezTo>
                  <a:close/>
                  <a:moveTo>
                    <a:pt x="1862338" y="0"/>
                  </a:moveTo>
                  <a:lnTo>
                    <a:pt x="2555184" y="0"/>
                  </a:lnTo>
                  <a:lnTo>
                    <a:pt x="2420890" y="86030"/>
                  </a:lnTo>
                  <a:cubicBezTo>
                    <a:pt x="2154693" y="266478"/>
                    <a:pt x="1913733" y="479863"/>
                    <a:pt x="1703381" y="715375"/>
                  </a:cubicBezTo>
                  <a:cubicBezTo>
                    <a:pt x="1365810" y="1092339"/>
                    <a:pt x="1104149" y="1525660"/>
                    <a:pt x="923719" y="1986010"/>
                  </a:cubicBezTo>
                  <a:cubicBezTo>
                    <a:pt x="833720" y="2216041"/>
                    <a:pt x="763129" y="2453260"/>
                    <a:pt x="717122" y="2694936"/>
                  </a:cubicBezTo>
                  <a:cubicBezTo>
                    <a:pt x="671259" y="2936614"/>
                    <a:pt x="647538" y="3182027"/>
                    <a:pt x="646244" y="3427730"/>
                  </a:cubicBezTo>
                  <a:cubicBezTo>
                    <a:pt x="644376" y="3673432"/>
                    <a:pt x="665077" y="3918845"/>
                    <a:pt x="707346" y="4160522"/>
                  </a:cubicBezTo>
                  <a:cubicBezTo>
                    <a:pt x="749183" y="4402342"/>
                    <a:pt x="816035" y="4639849"/>
                    <a:pt x="902872" y="4869880"/>
                  </a:cubicBezTo>
                  <a:cubicBezTo>
                    <a:pt x="1077984" y="5329367"/>
                    <a:pt x="1339500" y="5759239"/>
                    <a:pt x="1677359" y="6124701"/>
                  </a:cubicBezTo>
                  <a:cubicBezTo>
                    <a:pt x="1930752" y="6398797"/>
                    <a:pt x="2225066" y="6636097"/>
                    <a:pt x="2547624" y="6829930"/>
                  </a:cubicBezTo>
                  <a:lnTo>
                    <a:pt x="2596857" y="6858000"/>
                  </a:lnTo>
                  <a:lnTo>
                    <a:pt x="1525198" y="6858000"/>
                  </a:lnTo>
                  <a:lnTo>
                    <a:pt x="1457823" y="6800585"/>
                  </a:lnTo>
                  <a:cubicBezTo>
                    <a:pt x="562255" y="5999820"/>
                    <a:pt x="0" y="4844649"/>
                    <a:pt x="0" y="3560285"/>
                  </a:cubicBezTo>
                  <a:cubicBezTo>
                    <a:pt x="0" y="2124819"/>
                    <a:pt x="702333" y="850732"/>
                    <a:pt x="1787372" y="52444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 useBgFill="1">
          <p:nvSpPr>
            <p:cNvPr id="15" name="Freeform: Shape 14">
              <a:extLst>
                <a:ext uri="{FF2B5EF4-FFF2-40B4-BE49-F238E27FC236}">
                  <a16:creationId xmlns:a16="http://schemas.microsoft.com/office/drawing/2014/main" id="{E026D7DC-323B-776D-F0D7-59824264DE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-3810"/>
              <a:ext cx="12192000" cy="6858000"/>
            </a:xfrm>
            <a:custGeom>
              <a:avLst/>
              <a:gdLst>
                <a:gd name="connsiteX0" fmla="*/ 8201697 w 12192000"/>
                <a:gd name="connsiteY0" fmla="*/ 0 h 6858001"/>
                <a:gd name="connsiteX1" fmla="*/ 12192000 w 12192000"/>
                <a:gd name="connsiteY1" fmla="*/ 0 h 6858001"/>
                <a:gd name="connsiteX2" fmla="*/ 12192000 w 12192000"/>
                <a:gd name="connsiteY2" fmla="*/ 6858001 h 6858001"/>
                <a:gd name="connsiteX3" fmla="*/ 8460487 w 12192000"/>
                <a:gd name="connsiteY3" fmla="*/ 6858001 h 6858001"/>
                <a:gd name="connsiteX4" fmla="*/ 8553921 w 12192000"/>
                <a:gd name="connsiteY4" fmla="*/ 6784577 h 6858001"/>
                <a:gd name="connsiteX5" fmla="*/ 10092281 w 12192000"/>
                <a:gd name="connsiteY5" fmla="*/ 3522553 h 6858001"/>
                <a:gd name="connsiteX6" fmla="*/ 8228486 w 12192000"/>
                <a:gd name="connsiteY6" fmla="*/ 17174 h 6858001"/>
                <a:gd name="connsiteX7" fmla="*/ 0 w 12192000"/>
                <a:gd name="connsiteY7" fmla="*/ 0 h 6858001"/>
                <a:gd name="connsiteX8" fmla="*/ 3528179 w 12192000"/>
                <a:gd name="connsiteY8" fmla="*/ 0 h 6858001"/>
                <a:gd name="connsiteX9" fmla="*/ 3501391 w 12192000"/>
                <a:gd name="connsiteY9" fmla="*/ 17174 h 6858001"/>
                <a:gd name="connsiteX10" fmla="*/ 1637595 w 12192000"/>
                <a:gd name="connsiteY10" fmla="*/ 3522553 h 6858001"/>
                <a:gd name="connsiteX11" fmla="*/ 3175956 w 12192000"/>
                <a:gd name="connsiteY11" fmla="*/ 6784577 h 6858001"/>
                <a:gd name="connsiteX12" fmla="*/ 3269390 w 12192000"/>
                <a:gd name="connsiteY12" fmla="*/ 6858001 h 6858001"/>
                <a:gd name="connsiteX13" fmla="*/ 0 w 12192000"/>
                <a:gd name="connsiteY13" fmla="*/ 685800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92000" h="6858001">
                  <a:moveTo>
                    <a:pt x="8201697" y="0"/>
                  </a:moveTo>
                  <a:lnTo>
                    <a:pt x="12192000" y="0"/>
                  </a:lnTo>
                  <a:lnTo>
                    <a:pt x="12192000" y="6858001"/>
                  </a:lnTo>
                  <a:lnTo>
                    <a:pt x="8460487" y="6858001"/>
                  </a:lnTo>
                  <a:lnTo>
                    <a:pt x="8553921" y="6784577"/>
                  </a:lnTo>
                  <a:cubicBezTo>
                    <a:pt x="9493436" y="6009220"/>
                    <a:pt x="10092281" y="4835820"/>
                    <a:pt x="10092281" y="3522553"/>
                  </a:cubicBezTo>
                  <a:cubicBezTo>
                    <a:pt x="10092281" y="2063368"/>
                    <a:pt x="9352966" y="776858"/>
                    <a:pt x="8228486" y="17174"/>
                  </a:cubicBezTo>
                  <a:close/>
                  <a:moveTo>
                    <a:pt x="0" y="0"/>
                  </a:moveTo>
                  <a:lnTo>
                    <a:pt x="3528179" y="0"/>
                  </a:lnTo>
                  <a:lnTo>
                    <a:pt x="3501391" y="17174"/>
                  </a:lnTo>
                  <a:cubicBezTo>
                    <a:pt x="2376910" y="776858"/>
                    <a:pt x="1637595" y="2063368"/>
                    <a:pt x="1637595" y="3522553"/>
                  </a:cubicBezTo>
                  <a:cubicBezTo>
                    <a:pt x="1637595" y="4835820"/>
                    <a:pt x="2236440" y="6009220"/>
                    <a:pt x="3175956" y="6784577"/>
                  </a:cubicBezTo>
                  <a:lnTo>
                    <a:pt x="3269390" y="6858001"/>
                  </a:lnTo>
                  <a:lnTo>
                    <a:pt x="0" y="685800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6" name="Grafik 15" descr="Ein Bild, das Text, Schrift, Typografie, Grafiken enthält.&#10;&#10;KI-generierte Inhalte können fehlerhaft sein.">
            <a:extLst>
              <a:ext uri="{FF2B5EF4-FFF2-40B4-BE49-F238E27FC236}">
                <a16:creationId xmlns:a16="http://schemas.microsoft.com/office/drawing/2014/main" id="{DC76505C-39E0-FE77-C5B1-24160F25C6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012" y="5950425"/>
            <a:ext cx="3198239" cy="689130"/>
          </a:xfrm>
          <a:prstGeom prst="rect">
            <a:avLst/>
          </a:prstGeom>
        </p:spPr>
      </p:pic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ADB0085-65FA-182D-158D-E18813B40A5B}"/>
              </a:ext>
            </a:extLst>
          </p:cNvPr>
          <p:cNvSpPr txBox="1">
            <a:spLocks/>
          </p:cNvSpPr>
          <p:nvPr/>
        </p:nvSpPr>
        <p:spPr>
          <a:xfrm>
            <a:off x="8859464" y="5438632"/>
            <a:ext cx="3802040" cy="7400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>
                <a:solidFill>
                  <a:schemeClr val="bg1"/>
                </a:solidFill>
                <a:latin typeface="JetBrains Mono ExtraBold"/>
                <a:ea typeface="JetBrains Mono ExtraBold" panose="02000009000000000000" pitchFamily="49" charset="0"/>
                <a:cs typeface="JetBrains Mono ExtraBold" panose="02000009000000000000" pitchFamily="49" charset="0"/>
              </a:rPr>
              <a:t>17.-19.10.2025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ABF71764-C93B-DF00-26EF-06D3BD1A1A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459755"/>
              </p:ext>
            </p:extLst>
          </p:nvPr>
        </p:nvGraphicFramePr>
        <p:xfrm>
          <a:off x="-588978" y="2407494"/>
          <a:ext cx="13369650" cy="1017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69650">
                  <a:extLst>
                    <a:ext uri="{9D8B030D-6E8A-4147-A177-3AD203B41FA5}">
                      <a16:colId xmlns:a16="http://schemas.microsoft.com/office/drawing/2014/main" val="4284858205"/>
                    </a:ext>
                  </a:extLst>
                </a:gridCol>
              </a:tblGrid>
              <a:tr h="1017694">
                <a:tc>
                  <a:txBody>
                    <a:bodyPr/>
                    <a:lstStyle/>
                    <a:p>
                      <a:pPr algn="ctr"/>
                      <a:r>
                        <a:rPr lang="de-DE" sz="4000" dirty="0">
                          <a:solidFill>
                            <a:schemeClr val="tx1"/>
                          </a:solidFill>
                        </a:rPr>
                        <a:t>Danke für die Aufmerksamkeit</a:t>
                      </a:r>
                    </a:p>
                  </a:txBody>
                  <a:tcPr anchor="ctr">
                    <a:solidFill>
                      <a:srgbClr val="FFFFFF">
                        <a:alpha val="8902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832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95756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cV10YuqTklRFQHi1R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r0AHS8MrdFuZPf2gwZ1g"/>
</p:tagLst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EDEKA Master 16:9">
  <a:themeElements>
    <a:clrScheme name="Edeka">
      <a:dk1>
        <a:srgbClr val="000000"/>
      </a:dk1>
      <a:lt1>
        <a:srgbClr val="FFFFFF"/>
      </a:lt1>
      <a:dk2>
        <a:srgbClr val="00A0E7"/>
      </a:dk2>
      <a:lt2>
        <a:srgbClr val="FCE531"/>
      </a:lt2>
      <a:accent1>
        <a:srgbClr val="1B66B3"/>
      </a:accent1>
      <a:accent2>
        <a:srgbClr val="76A2D0"/>
      </a:accent2>
      <a:accent3>
        <a:srgbClr val="D0DFEF"/>
      </a:accent3>
      <a:accent4>
        <a:srgbClr val="616160"/>
      </a:accent4>
      <a:accent5>
        <a:srgbClr val="8E8E8E"/>
      </a:accent5>
      <a:accent6>
        <a:srgbClr val="CCCCCC"/>
      </a:accent6>
      <a:hlink>
        <a:srgbClr val="1B66B3"/>
      </a:hlink>
      <a:folHlink>
        <a:srgbClr val="8E8E8E"/>
      </a:folHlink>
    </a:clrScheme>
    <a:fontScheme name="Edeka_01">
      <a:majorFont>
        <a:latin typeface="Arial Narrow"/>
        <a:ea typeface=""/>
        <a:cs typeface="Arial"/>
      </a:majorFont>
      <a:minorFont>
        <a:latin typeface="Arial Narrow"/>
        <a:ea typeface="ＭＳ Ｐゴシック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/>
        </a:solidFill>
        <a:ln>
          <a:solidFill>
            <a:schemeClr val="accent3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R="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>
            <a:schemeClr val="accent1"/>
          </a:buClr>
          <a:buSzTx/>
          <a:tabLst/>
          <a:defRPr kumimoji="0" sz="1800" b="0" i="0" u="none" strike="noStrike" cap="none" normalizeH="0" baseline="0" smtClean="0">
            <a:ln>
              <a:noFill/>
            </a:ln>
            <a:effectLst/>
            <a:latin typeface="Arial Narrow" pitchFamily="34" charset="0"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 marL="266400" indent="-266400">
          <a:spcBef>
            <a:spcPts val="800"/>
          </a:spcBef>
          <a:buClr>
            <a:schemeClr val="accent1"/>
          </a:buClr>
          <a:buFont typeface="Wingdings" pitchFamily="2" charset="2"/>
          <a:buChar char="§"/>
          <a:defRPr sz="1800" smtClean="0"/>
        </a:defPPr>
      </a:lstStyle>
    </a:txDef>
  </a:objectDefaults>
  <a:extraClrSchemeLst>
    <a:extraClrScheme>
      <a:clrScheme name="5_Benutzerdefiniertes Design 1">
        <a:dk1>
          <a:srgbClr val="000000"/>
        </a:dk1>
        <a:lt1>
          <a:srgbClr val="FFFFFF"/>
        </a:lt1>
        <a:dk2>
          <a:srgbClr val="F8F8F8"/>
        </a:dk2>
        <a:lt2>
          <a:srgbClr val="333333"/>
        </a:lt2>
        <a:accent1>
          <a:srgbClr val="A5C1DF"/>
        </a:accent1>
        <a:accent2>
          <a:srgbClr val="E3ECF5"/>
        </a:accent2>
        <a:accent3>
          <a:srgbClr val="FFFFFF"/>
        </a:accent3>
        <a:accent4>
          <a:srgbClr val="000000"/>
        </a:accent4>
        <a:accent5>
          <a:srgbClr val="CFDDEC"/>
        </a:accent5>
        <a:accent6>
          <a:srgbClr val="CED6DE"/>
        </a:accent6>
        <a:hlink>
          <a:srgbClr val="004D9D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terfolien_EDEKA_NST_2023.pptx" id="{E9FDDC5D-B2FD-44DD-B255-28C5CA5D65C7}" vid="{0AC1310E-F8F4-4D17-BA5E-06B36D3E7DE1}"/>
    </a:ext>
  </a:extLst>
</a:theme>
</file>

<file path=ppt/theme/theme4.xml><?xml version="1.0" encoding="utf-8"?>
<a:theme xmlns:a="http://schemas.openxmlformats.org/drawingml/2006/main" name="BurdaSolutions">
  <a:themeElements>
    <a:clrScheme name="Benutzerdefiniert 30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00B1EB"/>
      </a:accent1>
      <a:accent2>
        <a:srgbClr val="59CBE8"/>
      </a:accent2>
      <a:accent3>
        <a:srgbClr val="9BC93B"/>
      </a:accent3>
      <a:accent4>
        <a:srgbClr val="FDE16D"/>
      </a:accent4>
      <a:accent5>
        <a:srgbClr val="FFA14B"/>
      </a:accent5>
      <a:accent6>
        <a:srgbClr val="FF7D61"/>
      </a:accent6>
      <a:hlink>
        <a:srgbClr val="7F7F7F"/>
      </a:hlink>
      <a:folHlink>
        <a:srgbClr val="7F7F7F"/>
      </a:folHlink>
    </a:clrScheme>
    <a:fontScheme name="Benutzerdefiniert 11">
      <a:majorFont>
        <a:latin typeface="Open Sans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300119_BurdaSolutions_Master_16x9" id="{4E9A5DC5-09EC-574E-8ECA-7F46F469FFC3}" vid="{917F6F70-5452-3943-99D3-46D489E6B622}"/>
    </a:ext>
  </a:extLst>
</a:theme>
</file>

<file path=ppt/theme/theme5.xml><?xml version="1.0" encoding="utf-8"?>
<a:theme xmlns:a="http://schemas.openxmlformats.org/drawingml/2006/main" name="Corporate_Inhaltsfolien">
  <a:themeElements>
    <a:clrScheme name="Hansgrohe Promo/Campaign colour">
      <a:dk1>
        <a:srgbClr val="000000"/>
      </a:dk1>
      <a:lt1>
        <a:srgbClr val="FFFFFF"/>
      </a:lt1>
      <a:dk2>
        <a:srgbClr val="A5A5A5"/>
      </a:dk2>
      <a:lt2>
        <a:srgbClr val="BFBFBF"/>
      </a:lt2>
      <a:accent1>
        <a:srgbClr val="B00A44"/>
      </a:accent1>
      <a:accent2>
        <a:srgbClr val="F6A305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>
          <a:solidFill>
            <a:schemeClr val="bg1">
              <a:lumMod val="65000"/>
            </a:schemeClr>
          </a:solidFill>
        </a:ln>
      </a:spPr>
      <a:bodyPr wrap="square" rtlCol="0" anchor="ctr">
        <a:spAutoFit/>
      </a:bodyPr>
      <a:lstStyle>
        <a:defPPr marL="269875" indent="-539750" algn="ctr">
          <a:spcBef>
            <a:spcPts val="300"/>
          </a:spcBef>
          <a:buSzPct val="100000"/>
          <a:buBlip>
            <a:blip xmlns:r="http://schemas.openxmlformats.org/officeDocument/2006/relationships" r:embed="rId1"/>
          </a:buBlip>
          <a:tabLst>
            <a:tab pos="273050" algn="l"/>
          </a:tabLst>
          <a:defRPr sz="1600" dirty="0" smtClean="0"/>
        </a:defPPr>
      </a:lstStyle>
    </a:spDef>
    <a:lnDef>
      <a:spPr>
        <a:ln w="3175" cmpd="sng">
          <a:solidFill>
            <a:srgbClr val="B2B2B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_16_9_Corporate_Vorlage.pptx  -  Schreibgeschützt" id="{4BB08E2B-9350-41F3-BF6B-FB9FD83ECF00}" vid="{644E6FB9-7233-4D2C-B06D-7AB327038E14}"/>
    </a:ext>
  </a:extLst>
</a:theme>
</file>

<file path=ppt/theme/theme6.xml><?xml version="1.0" encoding="utf-8"?>
<a:theme xmlns:a="http://schemas.openxmlformats.org/drawingml/2006/main" name="Koehler PAPER GROUP">
  <a:themeElements>
    <a:clrScheme name="Koehler Group">
      <a:dk1>
        <a:sysClr val="windowText" lastClr="000000"/>
      </a:dk1>
      <a:lt1>
        <a:sysClr val="window" lastClr="FFFFFF"/>
      </a:lt1>
      <a:dk2>
        <a:srgbClr val="595959"/>
      </a:dk2>
      <a:lt2>
        <a:srgbClr val="D9D9D9"/>
      </a:lt2>
      <a:accent1>
        <a:srgbClr val="B5162C"/>
      </a:accent1>
      <a:accent2>
        <a:srgbClr val="3D4F5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ehler Grou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oehler Group MASTER @RELEASE V1" id="{05143053-FD33-4847-953B-FBB831870F46}" vid="{BDE0F8AB-5974-43E2-9ECC-94A3683EF781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9352760-be64-46ad-abcf-471bfd15ad68">
      <UserInfo>
        <DisplayName>Lenn Luederitz</DisplayName>
        <AccountId>72</AccountId>
        <AccountType/>
      </UserInfo>
    </SharedWithUsers>
    <TaxCatchAll xmlns="29352760-be64-46ad-abcf-471bfd15ad68" xsi:nil="true"/>
    <lcf76f155ced4ddcb4097134ff3c332f xmlns="f10c6ed7-552d-4444-b606-2afdf5cc0ac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701CBF126B93141A79AAB570EAA3CBB" ma:contentTypeVersion="17" ma:contentTypeDescription="Ein neues Dokument erstellen." ma:contentTypeScope="" ma:versionID="7fc04818707f0e2fa6f71a7bd5978a3d">
  <xsd:schema xmlns:xsd="http://www.w3.org/2001/XMLSchema" xmlns:xs="http://www.w3.org/2001/XMLSchema" xmlns:p="http://schemas.microsoft.com/office/2006/metadata/properties" xmlns:ns2="f10c6ed7-552d-4444-b606-2afdf5cc0acc" xmlns:ns3="29352760-be64-46ad-abcf-471bfd15ad68" targetNamespace="http://schemas.microsoft.com/office/2006/metadata/properties" ma:root="true" ma:fieldsID="6117f058f215e99169313bcb033f056d" ns2:_="" ns3:_="">
    <xsd:import namespace="f10c6ed7-552d-4444-b606-2afdf5cc0acc"/>
    <xsd:import namespace="29352760-be64-46ad-abcf-471bfd15ad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0c6ed7-552d-4444-b606-2afdf5cc0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a314e99a-e89b-4f9a-9e0f-abc64f6b277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352760-be64-46ad-abcf-471bfd15ad6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bcf93d9-5293-4892-b004-a4bcc939ac30}" ma:internalName="TaxCatchAll" ma:showField="CatchAllData" ma:web="29352760-be64-46ad-abcf-471bfd15ad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77A74D-7AE7-42CE-93FC-DFD1EBFC91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34B97E9-2FB8-48BF-B011-4D636C74DAA7}">
  <ds:schemaRefs>
    <ds:schemaRef ds:uri="29352760-be64-46ad-abcf-471bfd15ad68"/>
    <ds:schemaRef ds:uri="f10c6ed7-552d-4444-b606-2afdf5cc0acc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D6F0628-8412-46E1-9655-CE7AAEF284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0c6ed7-552d-4444-b606-2afdf5cc0acc"/>
    <ds:schemaRef ds:uri="29352760-be64-46ad-abcf-471bfd15ad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1</Words>
  <Application>Microsoft Office PowerPoint</Application>
  <PresentationFormat>Breitbild</PresentationFormat>
  <Paragraphs>39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4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8</vt:i4>
      </vt:variant>
    </vt:vector>
  </HeadingPairs>
  <TitlesOfParts>
    <vt:vector size="30" baseType="lpstr">
      <vt:lpstr>Aptos Display</vt:lpstr>
      <vt:lpstr>Open Sans Light</vt:lpstr>
      <vt:lpstr>Open Sans</vt:lpstr>
      <vt:lpstr>Knockout HTF71-FullMiddlewt</vt:lpstr>
      <vt:lpstr>Arial</vt:lpstr>
      <vt:lpstr>Calibri Light</vt:lpstr>
      <vt:lpstr>FuturaTOT</vt:lpstr>
      <vt:lpstr>Wingdings</vt:lpstr>
      <vt:lpstr>Symbol</vt:lpstr>
      <vt:lpstr>JetBrains Mono ExtraBold</vt:lpstr>
      <vt:lpstr>Arial Narrow</vt:lpstr>
      <vt:lpstr>EdekaChalk-Regular</vt:lpstr>
      <vt:lpstr>Aptos</vt:lpstr>
      <vt:lpstr>Calibri</vt:lpstr>
      <vt:lpstr>Office</vt:lpstr>
      <vt:lpstr>1_Office</vt:lpstr>
      <vt:lpstr>EDEKA Master 16:9</vt:lpstr>
      <vt:lpstr>BurdaSolutions</vt:lpstr>
      <vt:lpstr>Corporate_Inhaltsfolien</vt:lpstr>
      <vt:lpstr>Koehler PAPER GROUP</vt:lpstr>
      <vt:lpstr>think-cell Foli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ona Faisst</dc:creator>
  <cp:lastModifiedBy>Jonas Oehler</cp:lastModifiedBy>
  <cp:revision>12</cp:revision>
  <dcterms:created xsi:type="dcterms:W3CDTF">2020-06-10T10:09:35Z</dcterms:created>
  <dcterms:modified xsi:type="dcterms:W3CDTF">2025-10-18T18:5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01CBF126B93141A79AAB570EAA3CBB</vt:lpwstr>
  </property>
  <property fmtid="{D5CDD505-2E9C-101B-9397-08002B2CF9AE}" pid="3" name="MediaServiceImageTags">
    <vt:lpwstr/>
  </property>
</Properties>
</file>